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4.xml" ContentType="application/vnd.openxmlformats-officedocument.theme+xml"/>
  <Override PartName="/ppt/tags/tag53.xml" ContentType="application/vnd.openxmlformats-officedocument.presentationml.tags+xml"/>
  <Override PartName="/ppt/notesSlides/notesSlide1.xml" ContentType="application/vnd.openxmlformats-officedocument.presentationml.notesSlide+xml"/>
  <Override PartName="/ppt/ink/ink1.xml" ContentType="application/inkml+xml"/>
  <Override PartName="/ppt/notesSlides/notesSlide2.xml" ContentType="application/vnd.openxmlformats-officedocument.presentationml.notesSlide+xml"/>
  <Override PartName="/ppt/tags/tag54.xml" ContentType="application/vnd.openxmlformats-officedocument.presentationml.tags+xml"/>
  <Override PartName="/ppt/notesSlides/notesSlide3.xml" ContentType="application/vnd.openxmlformats-officedocument.presentationml.notesSlide+xml"/>
  <Override PartName="/ppt/tags/tag55.xml" ContentType="application/vnd.openxmlformats-officedocument.presentationml.tags+xml"/>
  <Override PartName="/ppt/notesSlides/notesSlide4.xml" ContentType="application/vnd.openxmlformats-officedocument.presentationml.notesSlide+xml"/>
  <Override PartName="/ppt/tags/tag5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ink/ink76.xml" ContentType="application/inkml+xml"/>
  <Override PartName="/ppt/ink/ink77.xml" ContentType="application/inkml+xml"/>
  <Override PartName="/ppt/ink/ink78.xml" ContentType="application/inkml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ink/ink93.xml" ContentType="application/inkml+xml"/>
  <Override PartName="/ppt/ink/ink94.xml" ContentType="application/inkml+xml"/>
  <Override PartName="/ppt/ink/ink95.xml" ContentType="application/inkml+xml"/>
  <Override PartName="/ppt/ink/ink96.xml" ContentType="application/inkml+xml"/>
  <Override PartName="/ppt/ink/ink97.xml" ContentType="application/inkml+xml"/>
  <Override PartName="/ppt/ink/ink98.xml" ContentType="application/inkml+xml"/>
  <Override PartName="/ppt/ink/ink99.xml" ContentType="application/inkml+xml"/>
  <Override PartName="/ppt/ink/ink100.xml" ContentType="application/inkml+xml"/>
  <Override PartName="/ppt/ink/ink101.xml" ContentType="application/inkml+xml"/>
  <Override PartName="/ppt/ink/ink102.xml" ContentType="application/inkml+xml"/>
  <Override PartName="/ppt/ink/ink103.xml" ContentType="application/inkml+xml"/>
  <Override PartName="/ppt/ink/ink104.xml" ContentType="application/inkml+xml"/>
  <Override PartName="/ppt/ink/ink105.xml" ContentType="application/inkml+xml"/>
  <Override PartName="/ppt/ink/ink106.xml" ContentType="application/inkml+xml"/>
  <Override PartName="/ppt/ink/ink107.xml" ContentType="application/inkml+xml"/>
  <Override PartName="/ppt/ink/ink108.xml" ContentType="application/inkml+xml"/>
  <Override PartName="/ppt/ink/ink109.xml" ContentType="application/inkml+xml"/>
  <Override PartName="/ppt/ink/ink110.xml" ContentType="application/inkml+xml"/>
  <Override PartName="/ppt/ink/ink111.xml" ContentType="application/inkml+xml"/>
  <Override PartName="/ppt/ink/ink112.xml" ContentType="application/inkml+xml"/>
  <Override PartName="/ppt/ink/ink113.xml" ContentType="application/inkml+xml"/>
  <Override PartName="/ppt/ink/ink114.xml" ContentType="application/inkml+xml"/>
  <Override PartName="/ppt/ink/ink115.xml" ContentType="application/inkml+xml"/>
  <Override PartName="/ppt/ink/ink116.xml" ContentType="application/inkml+xml"/>
  <Override PartName="/ppt/ink/ink117.xml" ContentType="application/inkml+xml"/>
  <Override PartName="/ppt/ink/ink118.xml" ContentType="application/inkml+xml"/>
  <Override PartName="/ppt/ink/ink119.xml" ContentType="application/inkml+xml"/>
  <Override PartName="/ppt/ink/ink120.xml" ContentType="application/inkml+xml"/>
  <Override PartName="/ppt/ink/ink121.xml" ContentType="application/inkml+xml"/>
  <Override PartName="/ppt/ink/ink122.xml" ContentType="application/inkml+xml"/>
  <Override PartName="/ppt/ink/ink123.xml" ContentType="application/inkml+xml"/>
  <Override PartName="/ppt/ink/ink124.xml" ContentType="application/inkml+xml"/>
  <Override PartName="/ppt/ink/ink125.xml" ContentType="application/inkml+xml"/>
  <Override PartName="/ppt/ink/ink126.xml" ContentType="application/inkml+xml"/>
  <Override PartName="/ppt/ink/ink127.xml" ContentType="application/inkml+xml"/>
  <Override PartName="/ppt/ink/ink128.xml" ContentType="application/inkml+xml"/>
  <Override PartName="/ppt/ink/ink129.xml" ContentType="application/inkml+xml"/>
  <Override PartName="/ppt/ink/ink130.xml" ContentType="application/inkml+xml"/>
  <Override PartName="/ppt/ink/ink131.xml" ContentType="application/inkml+xml"/>
  <Override PartName="/ppt/ink/ink132.xml" ContentType="application/inkml+xml"/>
  <Override PartName="/ppt/ink/ink133.xml" ContentType="application/inkml+xml"/>
  <Override PartName="/ppt/ink/ink134.xml" ContentType="application/inkml+xml"/>
  <Override PartName="/ppt/ink/ink135.xml" ContentType="application/inkml+xml"/>
  <Override PartName="/ppt/ink/ink136.xml" ContentType="application/inkml+xml"/>
  <Override PartName="/ppt/ink/ink137.xml" ContentType="application/inkml+xml"/>
  <Override PartName="/ppt/ink/ink138.xml" ContentType="application/inkml+xml"/>
  <Override PartName="/ppt/ink/ink139.xml" ContentType="application/inkml+xml"/>
  <Override PartName="/ppt/ink/ink140.xml" ContentType="application/inkml+xml"/>
  <Override PartName="/ppt/ink/ink141.xml" ContentType="application/inkml+xml"/>
  <Override PartName="/ppt/ink/ink142.xml" ContentType="application/inkml+xml"/>
  <Override PartName="/ppt/ink/ink143.xml" ContentType="application/inkml+xml"/>
  <Override PartName="/ppt/ink/ink144.xml" ContentType="application/inkml+xml"/>
  <Override PartName="/ppt/ink/ink145.xml" ContentType="application/inkml+xml"/>
  <Override PartName="/ppt/ink/ink146.xml" ContentType="application/inkml+xml"/>
  <Override PartName="/ppt/ink/ink147.xml" ContentType="application/inkml+xml"/>
  <Override PartName="/ppt/ink/ink148.xml" ContentType="application/inkml+xml"/>
  <Override PartName="/ppt/ink/ink149.xml" ContentType="application/inkml+xml"/>
  <Override PartName="/ppt/ink/ink150.xml" ContentType="application/inkml+xml"/>
  <Override PartName="/ppt/ink/ink151.xml" ContentType="application/inkml+xml"/>
  <Override PartName="/ppt/ink/ink152.xml" ContentType="application/inkml+xml"/>
  <Override PartName="/ppt/ink/ink153.xml" ContentType="application/inkml+xml"/>
  <Override PartName="/ppt/ink/ink154.xml" ContentType="application/inkml+xml"/>
  <Override PartName="/ppt/ink/ink155.xml" ContentType="application/inkml+xml"/>
  <Override PartName="/ppt/ink/ink156.xml" ContentType="application/inkml+xml"/>
  <Override PartName="/ppt/ink/ink157.xml" ContentType="application/inkml+xml"/>
  <Override PartName="/ppt/ink/ink158.xml" ContentType="application/inkml+xml"/>
  <Override PartName="/ppt/ink/ink159.xml" ContentType="application/inkml+xml"/>
  <Override PartName="/ppt/ink/ink160.xml" ContentType="application/inkml+xml"/>
  <Override PartName="/ppt/ink/ink161.xml" ContentType="application/inkml+xml"/>
  <Override PartName="/ppt/ink/ink162.xml" ContentType="application/inkml+xml"/>
  <Override PartName="/ppt/ink/ink163.xml" ContentType="application/inkml+xml"/>
  <Override PartName="/ppt/ink/ink164.xml" ContentType="application/inkml+xml"/>
  <Override PartName="/ppt/ink/ink165.xml" ContentType="application/inkml+xml"/>
  <Override PartName="/ppt/ink/ink166.xml" ContentType="application/inkml+xml"/>
  <Override PartName="/ppt/ink/ink167.xml" ContentType="application/inkml+xml"/>
  <Override PartName="/ppt/ink/ink168.xml" ContentType="application/inkml+xml"/>
  <Override PartName="/ppt/ink/ink169.xml" ContentType="application/inkml+xml"/>
  <Override PartName="/ppt/ink/ink170.xml" ContentType="application/inkml+xml"/>
  <Override PartName="/ppt/ink/ink171.xml" ContentType="application/inkml+xml"/>
  <Override PartName="/ppt/ink/ink172.xml" ContentType="application/inkml+xml"/>
  <Override PartName="/ppt/ink/ink173.xml" ContentType="application/inkml+xml"/>
  <Override PartName="/ppt/ink/ink174.xml" ContentType="application/inkml+xml"/>
  <Override PartName="/ppt/ink/ink175.xml" ContentType="application/inkml+xml"/>
  <Override PartName="/ppt/ink/ink176.xml" ContentType="application/inkml+xml"/>
  <Override PartName="/ppt/ink/ink177.xml" ContentType="application/inkml+xml"/>
  <Override PartName="/ppt/ink/ink178.xml" ContentType="application/inkml+xml"/>
  <Override PartName="/ppt/ink/ink179.xml" ContentType="application/inkml+xml"/>
  <Override PartName="/ppt/ink/ink180.xml" ContentType="application/inkml+xml"/>
  <Override PartName="/ppt/ink/ink181.xml" ContentType="application/inkml+xml"/>
  <Override PartName="/ppt/ink/ink182.xml" ContentType="application/inkml+xml"/>
  <Override PartName="/ppt/ink/ink183.xml" ContentType="application/inkml+xml"/>
  <Override PartName="/ppt/ink/ink184.xml" ContentType="application/inkml+xml"/>
  <Override PartName="/ppt/ink/ink185.xml" ContentType="application/inkml+xml"/>
  <Override PartName="/ppt/ink/ink186.xml" ContentType="application/inkml+xml"/>
  <Override PartName="/ppt/ink/ink187.xml" ContentType="application/inkml+xml"/>
  <Override PartName="/ppt/ink/ink188.xml" ContentType="application/inkml+xml"/>
  <Override PartName="/ppt/ink/ink189.xml" ContentType="application/inkml+xml"/>
  <Override PartName="/ppt/ink/ink190.xml" ContentType="application/inkml+xml"/>
  <Override PartName="/ppt/ink/ink191.xml" ContentType="application/inkml+xml"/>
  <Override PartName="/ppt/ink/ink192.xml" ContentType="application/inkml+xml"/>
  <Override PartName="/ppt/ink/ink193.xml" ContentType="application/inkml+xml"/>
  <Override PartName="/ppt/ink/ink194.xml" ContentType="application/inkml+xml"/>
  <Override PartName="/ppt/ink/ink195.xml" ContentType="application/inkml+xml"/>
  <Override PartName="/ppt/ink/ink196.xml" ContentType="application/inkml+xml"/>
  <Override PartName="/ppt/ink/ink197.xml" ContentType="application/inkml+xml"/>
  <Override PartName="/ppt/ink/ink198.xml" ContentType="application/inkml+xml"/>
  <Override PartName="/ppt/ink/ink199.xml" ContentType="application/inkml+xml"/>
  <Override PartName="/ppt/ink/ink200.xml" ContentType="application/inkml+xml"/>
  <Override PartName="/ppt/ink/ink201.xml" ContentType="application/inkml+xml"/>
  <Override PartName="/ppt/ink/ink202.xml" ContentType="application/inkml+xml"/>
  <Override PartName="/ppt/ink/ink203.xml" ContentType="application/inkml+xml"/>
  <Override PartName="/ppt/ink/ink204.xml" ContentType="application/inkml+xml"/>
  <Override PartName="/ppt/ink/ink205.xml" ContentType="application/inkml+xml"/>
  <Override PartName="/ppt/ink/ink206.xml" ContentType="application/inkml+xml"/>
  <Override PartName="/ppt/ink/ink207.xml" ContentType="application/inkml+xml"/>
  <Override PartName="/ppt/ink/ink208.xml" ContentType="application/inkml+xml"/>
  <Override PartName="/ppt/ink/ink209.xml" ContentType="application/inkml+xml"/>
  <Override PartName="/ppt/ink/ink210.xml" ContentType="application/inkml+xml"/>
  <Override PartName="/ppt/ink/ink211.xml" ContentType="application/inkml+xml"/>
  <Override PartName="/ppt/ink/ink212.xml" ContentType="application/inkml+xml"/>
  <Override PartName="/ppt/ink/ink213.xml" ContentType="application/inkml+xml"/>
  <Override PartName="/ppt/ink/ink214.xml" ContentType="application/inkml+xml"/>
  <Override PartName="/ppt/ink/ink215.xml" ContentType="application/inkml+xml"/>
  <Override PartName="/ppt/ink/ink216.xml" ContentType="application/inkml+xml"/>
  <Override PartName="/ppt/ink/ink217.xml" ContentType="application/inkml+xml"/>
  <Override PartName="/ppt/ink/ink218.xml" ContentType="application/inkml+xml"/>
  <Override PartName="/ppt/ink/ink219.xml" ContentType="application/inkml+xml"/>
  <Override PartName="/ppt/ink/ink220.xml" ContentType="application/inkml+xml"/>
  <Override PartName="/ppt/ink/ink221.xml" ContentType="application/inkml+xml"/>
  <Override PartName="/ppt/ink/ink222.xml" ContentType="application/inkml+xml"/>
  <Override PartName="/ppt/ink/ink223.xml" ContentType="application/inkml+xml"/>
  <Override PartName="/ppt/ink/ink224.xml" ContentType="application/inkml+xml"/>
  <Override PartName="/ppt/ink/ink225.xml" ContentType="application/inkml+xml"/>
  <Override PartName="/ppt/ink/ink226.xml" ContentType="application/inkml+xml"/>
  <Override PartName="/ppt/ink/ink227.xml" ContentType="application/inkml+xml"/>
  <Override PartName="/ppt/ink/ink228.xml" ContentType="application/inkml+xml"/>
  <Override PartName="/ppt/ink/ink229.xml" ContentType="application/inkml+xml"/>
  <Override PartName="/ppt/ink/ink230.xml" ContentType="application/inkml+xml"/>
  <Override PartName="/ppt/ink/ink231.xml" ContentType="application/inkml+xml"/>
  <Override PartName="/ppt/ink/ink232.xml" ContentType="application/inkml+xml"/>
  <Override PartName="/ppt/ink/ink233.xml" ContentType="application/inkml+xml"/>
  <Override PartName="/ppt/ink/ink234.xml" ContentType="application/inkml+xml"/>
  <Override PartName="/ppt/ink/ink235.xml" ContentType="application/inkml+xml"/>
  <Override PartName="/ppt/ink/ink236.xml" ContentType="application/inkml+xml"/>
  <Override PartName="/ppt/ink/ink237.xml" ContentType="application/inkml+xml"/>
  <Override PartName="/ppt/ink/ink238.xml" ContentType="application/inkml+xml"/>
  <Override PartName="/ppt/ink/ink239.xml" ContentType="application/inkml+xml"/>
  <Override PartName="/ppt/ink/ink240.xml" ContentType="application/inkml+xml"/>
  <Override PartName="/ppt/ink/ink241.xml" ContentType="application/inkml+xml"/>
  <Override PartName="/ppt/ink/ink242.xml" ContentType="application/inkml+xml"/>
  <Override PartName="/ppt/ink/ink243.xml" ContentType="application/inkml+xml"/>
  <Override PartName="/ppt/ink/ink244.xml" ContentType="application/inkml+xml"/>
  <Override PartName="/ppt/ink/ink245.xml" ContentType="application/inkml+xml"/>
  <Override PartName="/ppt/ink/ink246.xml" ContentType="application/inkml+xml"/>
  <Override PartName="/ppt/ink/ink247.xml" ContentType="application/inkml+xml"/>
  <Override PartName="/ppt/ink/ink248.xml" ContentType="application/inkml+xml"/>
  <Override PartName="/ppt/ink/ink249.xml" ContentType="application/inkml+xml"/>
  <Override PartName="/ppt/ink/ink250.xml" ContentType="application/inkml+xml"/>
  <Override PartName="/ppt/ink/ink251.xml" ContentType="application/inkml+xml"/>
  <Override PartName="/ppt/ink/ink252.xml" ContentType="application/inkml+xml"/>
  <Override PartName="/ppt/ink/ink253.xml" ContentType="application/inkml+xml"/>
  <Override PartName="/ppt/ink/ink254.xml" ContentType="application/inkml+xml"/>
  <Override PartName="/ppt/ink/ink255.xml" ContentType="application/inkml+xml"/>
  <Override PartName="/ppt/ink/ink256.xml" ContentType="application/inkml+xml"/>
  <Override PartName="/ppt/ink/ink257.xml" ContentType="application/inkml+xml"/>
  <Override PartName="/ppt/ink/ink258.xml" ContentType="application/inkml+xml"/>
  <Override PartName="/ppt/ink/ink259.xml" ContentType="application/inkml+xml"/>
  <Override PartName="/ppt/ink/ink260.xml" ContentType="application/inkml+xml"/>
  <Override PartName="/ppt/ink/ink261.xml" ContentType="application/inkml+xml"/>
  <Override PartName="/ppt/ink/ink262.xml" ContentType="application/inkml+xml"/>
  <Override PartName="/ppt/ink/ink263.xml" ContentType="application/inkml+xml"/>
  <Override PartName="/ppt/ink/ink264.xml" ContentType="application/inkml+xml"/>
  <Override PartName="/ppt/ink/ink265.xml" ContentType="application/inkml+xml"/>
  <Override PartName="/ppt/ink/ink266.xml" ContentType="application/inkml+xml"/>
  <Override PartName="/ppt/ink/ink267.xml" ContentType="application/inkml+xml"/>
  <Override PartName="/ppt/ink/ink268.xml" ContentType="application/inkml+xml"/>
  <Override PartName="/ppt/ink/ink269.xml" ContentType="application/inkml+xml"/>
  <Override PartName="/ppt/ink/ink270.xml" ContentType="application/inkml+xml"/>
  <Override PartName="/ppt/ink/ink271.xml" ContentType="application/inkml+xml"/>
  <Override PartName="/ppt/ink/ink272.xml" ContentType="application/inkml+xml"/>
  <Override PartName="/ppt/ink/ink273.xml" ContentType="application/inkml+xml"/>
  <Override PartName="/ppt/ink/ink274.xml" ContentType="application/inkml+xml"/>
  <Override PartName="/ppt/ink/ink275.xml" ContentType="application/inkml+xml"/>
  <Override PartName="/ppt/ink/ink276.xml" ContentType="application/inkml+xml"/>
  <Override PartName="/ppt/ink/ink277.xml" ContentType="application/inkml+xml"/>
  <Override PartName="/ppt/ink/ink278.xml" ContentType="application/inkml+xml"/>
  <Override PartName="/ppt/ink/ink279.xml" ContentType="application/inkml+xml"/>
  <Override PartName="/ppt/ink/ink280.xml" ContentType="application/inkml+xml"/>
  <Override PartName="/ppt/ink/ink281.xml" ContentType="application/inkml+xml"/>
  <Override PartName="/ppt/ink/ink282.xml" ContentType="application/inkml+xml"/>
  <Override PartName="/ppt/ink/ink283.xml" ContentType="application/inkml+xml"/>
  <Override PartName="/ppt/ink/ink284.xml" ContentType="application/inkml+xml"/>
  <Override PartName="/ppt/ink/ink285.xml" ContentType="application/inkml+xml"/>
  <Override PartName="/ppt/ink/ink286.xml" ContentType="application/inkml+xml"/>
  <Override PartName="/ppt/ink/ink287.xml" ContentType="application/inkml+xml"/>
  <Override PartName="/ppt/ink/ink288.xml" ContentType="application/inkml+xml"/>
  <Override PartName="/ppt/ink/ink289.xml" ContentType="application/inkml+xml"/>
  <Override PartName="/ppt/ink/ink290.xml" ContentType="application/inkml+xml"/>
  <Override PartName="/ppt/ink/ink291.xml" ContentType="application/inkml+xml"/>
  <Override PartName="/ppt/ink/ink292.xml" ContentType="application/inkml+xml"/>
  <Override PartName="/ppt/ink/ink293.xml" ContentType="application/inkml+xml"/>
  <Override PartName="/ppt/ink/ink294.xml" ContentType="application/inkml+xml"/>
  <Override PartName="/ppt/ink/ink295.xml" ContentType="application/inkml+xml"/>
  <Override PartName="/ppt/ink/ink296.xml" ContentType="application/inkml+xml"/>
  <Override PartName="/ppt/ink/ink297.xml" ContentType="application/inkml+xml"/>
  <Override PartName="/ppt/ink/ink298.xml" ContentType="application/inkml+xml"/>
  <Override PartName="/ppt/ink/ink299.xml" ContentType="application/inkml+xml"/>
  <Override PartName="/ppt/ink/ink300.xml" ContentType="application/inkml+xml"/>
  <Override PartName="/ppt/ink/ink301.xml" ContentType="application/inkml+xml"/>
  <Override PartName="/ppt/ink/ink302.xml" ContentType="application/inkml+xml"/>
  <Override PartName="/ppt/ink/ink303.xml" ContentType="application/inkml+xml"/>
  <Override PartName="/ppt/ink/ink304.xml" ContentType="application/inkml+xml"/>
  <Override PartName="/ppt/ink/ink305.xml" ContentType="application/inkml+xml"/>
  <Override PartName="/ppt/ink/ink306.xml" ContentType="application/inkml+xml"/>
  <Override PartName="/ppt/ink/ink307.xml" ContentType="application/inkml+xml"/>
  <Override PartName="/ppt/ink/ink308.xml" ContentType="application/inkml+xml"/>
  <Override PartName="/ppt/ink/ink309.xml" ContentType="application/inkml+xml"/>
  <Override PartName="/ppt/ink/ink310.xml" ContentType="application/inkml+xml"/>
  <Override PartName="/ppt/ink/ink311.xml" ContentType="application/inkml+xml"/>
  <Override PartName="/ppt/ink/ink312.xml" ContentType="application/inkml+xml"/>
  <Override PartName="/ppt/ink/ink313.xml" ContentType="application/inkml+xml"/>
  <Override PartName="/ppt/ink/ink314.xml" ContentType="application/inkml+xml"/>
  <Override PartName="/ppt/ink/ink315.xml" ContentType="application/inkml+xml"/>
  <Override PartName="/ppt/ink/ink316.xml" ContentType="application/inkml+xml"/>
  <Override PartName="/ppt/ink/ink317.xml" ContentType="application/inkml+xml"/>
  <Override PartName="/ppt/ink/ink318.xml" ContentType="application/inkml+xml"/>
  <Override PartName="/ppt/ink/ink319.xml" ContentType="application/inkml+xml"/>
  <Override PartName="/ppt/ink/ink320.xml" ContentType="application/inkml+xml"/>
  <Override PartName="/ppt/ink/ink321.xml" ContentType="application/inkml+xml"/>
  <Override PartName="/ppt/ink/ink322.xml" ContentType="application/inkml+xml"/>
  <Override PartName="/ppt/ink/ink323.xml" ContentType="application/inkml+xml"/>
  <Override PartName="/ppt/ink/ink324.xml" ContentType="application/inkml+xml"/>
  <Override PartName="/ppt/ink/ink325.xml" ContentType="application/inkml+xml"/>
  <Override PartName="/ppt/ink/ink326.xml" ContentType="application/inkml+xml"/>
  <Override PartName="/ppt/ink/ink327.xml" ContentType="application/inkml+xml"/>
  <Override PartName="/ppt/ink/ink328.xml" ContentType="application/inkml+xml"/>
  <Override PartName="/ppt/ink/ink329.xml" ContentType="application/inkml+xml"/>
  <Override PartName="/ppt/ink/ink330.xml" ContentType="application/inkml+xml"/>
  <Override PartName="/ppt/ink/ink331.xml" ContentType="application/inkml+xml"/>
  <Override PartName="/ppt/ink/ink332.xml" ContentType="application/inkml+xml"/>
  <Override PartName="/ppt/ink/ink333.xml" ContentType="application/inkml+xml"/>
  <Override PartName="/ppt/ink/ink334.xml" ContentType="application/inkml+xml"/>
  <Override PartName="/ppt/ink/ink335.xml" ContentType="application/inkml+xml"/>
  <Override PartName="/ppt/ink/ink336.xml" ContentType="application/inkml+xml"/>
  <Override PartName="/ppt/ink/ink337.xml" ContentType="application/inkml+xml"/>
  <Override PartName="/ppt/ink/ink338.xml" ContentType="application/inkml+xml"/>
  <Override PartName="/ppt/ink/ink339.xml" ContentType="application/inkml+xml"/>
  <Override PartName="/ppt/ink/ink340.xml" ContentType="application/inkml+xml"/>
  <Override PartName="/ppt/ink/ink341.xml" ContentType="application/inkml+xml"/>
  <Override PartName="/ppt/ink/ink342.xml" ContentType="application/inkml+xml"/>
  <Override PartName="/ppt/ink/ink343.xml" ContentType="application/inkml+xml"/>
  <Override PartName="/ppt/ink/ink344.xml" ContentType="application/inkml+xml"/>
  <Override PartName="/ppt/ink/ink345.xml" ContentType="application/inkml+xml"/>
  <Override PartName="/ppt/ink/ink346.xml" ContentType="application/inkml+xml"/>
  <Override PartName="/ppt/ink/ink347.xml" ContentType="application/inkml+xml"/>
  <Override PartName="/ppt/ink/ink348.xml" ContentType="application/inkml+xml"/>
  <Override PartName="/ppt/ink/ink349.xml" ContentType="application/inkml+xml"/>
  <Override PartName="/ppt/ink/ink350.xml" ContentType="application/inkml+xml"/>
  <Override PartName="/ppt/ink/ink351.xml" ContentType="application/inkml+xml"/>
  <Override PartName="/ppt/ink/ink352.xml" ContentType="application/inkml+xml"/>
  <Override PartName="/ppt/ink/ink353.xml" ContentType="application/inkml+xml"/>
  <Override PartName="/ppt/ink/ink354.xml" ContentType="application/inkml+xml"/>
  <Override PartName="/ppt/ink/ink355.xml" ContentType="application/inkml+xml"/>
  <Override PartName="/ppt/ink/ink356.xml" ContentType="application/inkml+xml"/>
  <Override PartName="/ppt/ink/ink357.xml" ContentType="application/inkml+xml"/>
  <Override PartName="/ppt/ink/ink358.xml" ContentType="application/inkml+xml"/>
  <Override PartName="/ppt/ink/ink359.xml" ContentType="application/inkml+xml"/>
  <Override PartName="/ppt/ink/ink360.xml" ContentType="application/inkml+xml"/>
  <Override PartName="/ppt/ink/ink361.xml" ContentType="application/inkml+xml"/>
  <Override PartName="/ppt/ink/ink362.xml" ContentType="application/inkml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5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39" r:id="rId5"/>
    <p:sldMasterId id="2147483760" r:id="rId6"/>
  </p:sldMasterIdLst>
  <p:notesMasterIdLst>
    <p:notesMasterId r:id="rId47"/>
  </p:notesMasterIdLst>
  <p:sldIdLst>
    <p:sldId id="273" r:id="rId7"/>
    <p:sldId id="2147483578" r:id="rId8"/>
    <p:sldId id="287" r:id="rId9"/>
    <p:sldId id="2147483469" r:id="rId10"/>
    <p:sldId id="2147483066" r:id="rId11"/>
    <p:sldId id="2147473905" r:id="rId12"/>
    <p:sldId id="2147483440" r:id="rId13"/>
    <p:sldId id="295" r:id="rId14"/>
    <p:sldId id="2147483553" r:id="rId15"/>
    <p:sldId id="2147483554" r:id="rId16"/>
    <p:sldId id="289" r:id="rId17"/>
    <p:sldId id="2147483421" r:id="rId18"/>
    <p:sldId id="2147483557" r:id="rId19"/>
    <p:sldId id="2147483430" r:id="rId20"/>
    <p:sldId id="2147483538" r:id="rId21"/>
    <p:sldId id="2147483432" r:id="rId22"/>
    <p:sldId id="2147483435" r:id="rId23"/>
    <p:sldId id="2147483428" r:id="rId24"/>
    <p:sldId id="2147483429" r:id="rId25"/>
    <p:sldId id="2147483532" r:id="rId26"/>
    <p:sldId id="2147483433" r:id="rId27"/>
    <p:sldId id="2147483561" r:id="rId28"/>
    <p:sldId id="2147483434" r:id="rId29"/>
    <p:sldId id="2147483558" r:id="rId30"/>
    <p:sldId id="2147483528" r:id="rId31"/>
    <p:sldId id="290" r:id="rId32"/>
    <p:sldId id="2147483515" r:id="rId33"/>
    <p:sldId id="2147483555" r:id="rId34"/>
    <p:sldId id="291" r:id="rId35"/>
    <p:sldId id="2147483077" r:id="rId36"/>
    <p:sldId id="2147483559" r:id="rId37"/>
    <p:sldId id="2147483078" r:id="rId38"/>
    <p:sldId id="2147483438" r:id="rId39"/>
    <p:sldId id="2147483422" r:id="rId40"/>
    <p:sldId id="292" r:id="rId41"/>
    <p:sldId id="2147483520" r:id="rId42"/>
    <p:sldId id="2147483566" r:id="rId43"/>
    <p:sldId id="2147483565" r:id="rId44"/>
    <p:sldId id="2147483563" r:id="rId45"/>
    <p:sldId id="2147483580" r:id="rId46"/>
  </p:sldIdLst>
  <p:sldSz cx="12192000" cy="6858000"/>
  <p:notesSz cx="6797675" cy="9872663"/>
  <p:custDataLst>
    <p:tags r:id="rId48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73"/>
            <p14:sldId id="2147483578"/>
          </p14:sldIdLst>
        </p14:section>
        <p14:section name="Value Proposition" id="{3D2AAE52-D6AD-444B-86F3-34BE505C88CE}">
          <p14:sldIdLst>
            <p14:sldId id="287"/>
            <p14:sldId id="2147483469"/>
            <p14:sldId id="2147483066"/>
            <p14:sldId id="2147473905"/>
          </p14:sldIdLst>
        </p14:section>
        <p14:section name="Primary Application and Use" id="{7260E834-8B6B-4CAE-8705-FE73455E918E}">
          <p14:sldIdLst>
            <p14:sldId id="2147483440"/>
            <p14:sldId id="295"/>
            <p14:sldId id="2147483553"/>
            <p14:sldId id="2147483554"/>
          </p14:sldIdLst>
        </p14:section>
        <p14:section name="Key Features and benefits" id="{0FB5FA0C-6798-4999-AA76-C9130B8AB5E2}">
          <p14:sldIdLst>
            <p14:sldId id="289"/>
            <p14:sldId id="2147483421"/>
          </p14:sldIdLst>
        </p14:section>
        <p14:section name="--&gt; Key Features - Productivity" id="{342CC57E-276C-4D96-8320-E39369BF0C94}">
          <p14:sldIdLst>
            <p14:sldId id="2147483557"/>
            <p14:sldId id="2147483430"/>
            <p14:sldId id="2147483538"/>
            <p14:sldId id="2147483432"/>
          </p14:sldIdLst>
        </p14:section>
        <p14:section name="--&gt; Key Features - Streamline" id="{16F3453B-4ACB-4E71-AC0B-E7CF9896FC16}">
          <p14:sldIdLst>
            <p14:sldId id="2147483435"/>
            <p14:sldId id="2147483428"/>
          </p14:sldIdLst>
        </p14:section>
        <p14:section name="--&gt; Key Features - Safety" id="{86489406-BE03-40D8-8EBC-61DA0834B659}">
          <p14:sldIdLst>
            <p14:sldId id="2147483429"/>
            <p14:sldId id="2147483532"/>
            <p14:sldId id="2147483433"/>
          </p14:sldIdLst>
        </p14:section>
        <p14:section name="--&gt; Key Features - Durability" id="{7BCD8AF6-B6AE-4E50-ABD1-4EACAF6E328B}">
          <p14:sldIdLst>
            <p14:sldId id="2147483561"/>
          </p14:sldIdLst>
        </p14:section>
        <p14:section name="--&gt; Key Features - Transport" id="{10CB4B72-64E9-4A6D-AB50-89B5609DED71}">
          <p14:sldIdLst>
            <p14:sldId id="2147483434"/>
            <p14:sldId id="2147483558"/>
          </p14:sldIdLst>
        </p14:section>
        <p14:section name="--&gt; Key Features - Summary" id="{C6DCC756-FC02-4190-83D9-6AC66D839A54}">
          <p14:sldIdLst>
            <p14:sldId id="2147483528"/>
          </p14:sldIdLst>
        </p14:section>
        <p14:section name="Product Summary" id="{FF85FCFA-3EF9-4C95-B58A-FAF2411DA380}">
          <p14:sldIdLst>
            <p14:sldId id="290"/>
            <p14:sldId id="2147483515"/>
            <p14:sldId id="2147483555"/>
          </p14:sldIdLst>
        </p14:section>
        <p14:section name="Accessories" id="{7B27C620-2509-450C-9635-3339898FCB46}">
          <p14:sldIdLst>
            <p14:sldId id="291"/>
            <p14:sldId id="2147483077"/>
            <p14:sldId id="2147483559"/>
            <p14:sldId id="2147483078"/>
            <p14:sldId id="2147483438"/>
            <p14:sldId id="2147483422"/>
          </p14:sldIdLst>
        </p14:section>
        <p14:section name="Technical Specs" id="{82DC1D05-1B45-46CD-A37A-5199C32F510A}">
          <p14:sldIdLst>
            <p14:sldId id="292"/>
            <p14:sldId id="2147483520"/>
            <p14:sldId id="2147483566"/>
            <p14:sldId id="2147483565"/>
            <p14:sldId id="2147483563"/>
          </p14:sldIdLst>
        </p14:section>
        <p14:section name="Assets" id="{2B7CB2B4-8327-49BB-A414-BC0CF2EB33A1}">
          <p14:sldIdLst>
            <p14:sldId id="2147483580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189C009-C5BC-0AEA-FB18-7DD2A67B24C0}" name="Massimiliano Fedele" initials="MF" userId="S::mfedele@Nilfisk.com::bccdcf68-8912-450f-b6ac-45fad059a242" providerId="AD"/>
  <p188:author id="{BF5F5F14-D78F-20FD-D9C5-AF28FE30E3B6}" name="Valentina Bonucchi" initials="VB" userId="S::VBonucchi@Nilfisk.com::a3c72a79-03ca-4054-8650-fe55237bf169" providerId="AD"/>
  <p188:author id="{CCE1D22A-4564-FEA0-066D-AE80ED435C8C}" name="Line Skovbjerg" initials="LS" userId="S::lskovbjerg@Nilfisk.com::bd8d82be-b2a3-4297-892b-01dc5ddd9e5a" providerId="AD"/>
  <p188:author id="{AB25BC35-9DDE-ACBE-5677-DDAB66BC5ACF}" name="trannhaquynh - CARA" initials="t-" userId="7ddfe8a7b8b1c7c3" providerId="Windows Live"/>
  <p188:author id="{02014855-3624-6BD1-C2E6-E867C9C07B10}" name="USER" initials="U" userId="USER" providerId="None"/>
  <p188:author id="{17E6616E-ABF1-3AF0-8152-821D3D9015AB}" name="InBold" initials="I" userId="InBold" providerId="None"/>
  <p188:author id="{F8DDDF70-BFA4-9122-644F-56C73CC5B4FA}" name="Valentina Bonucchi" initials="VB" userId="S::vbonucchi@nilfisk.com::a3c72a79-03ca-4054-8650-fe55237bf169" providerId="AD"/>
  <p188:author id="{90A06E89-F779-B871-2D47-CC82BD0308F6}" name="Anders Sandstrom" initials="AS" userId="S::asandstrom@nilfisk.com::56f87f27-b3c5-4c4a-b856-1e78615f87ab" providerId="AD"/>
  <p188:author id="{6589D7B6-7D68-9633-A2DD-9C1F6B99529A}" name="Tine Maribo" initials="TM" userId="S::TMaribo@Nilfisk.com::541adeda-b521-4320-b16e-22c421cfdf6f" providerId="AD"/>
  <p188:author id="{41597BBF-A003-4935-3E03-8438D0945FF6}" name="Tine Maribo" initials="TM" userId="S::tmaribo@nilfisk.com::541adeda-b521-4320-b16e-22c421cfdf6f" providerId="AD"/>
  <p188:author id="{AD2FBAD5-C6A4-60DF-80E0-A9D9EEFB94E2}" name="Joost Stuyven" initials="JS" userId="S::jost@languagewire.com::d472430b-8841-4e48-b96a-0d7072a3ac9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79797"/>
    <a:srgbClr val="1F232C"/>
    <a:srgbClr val="F0F1F3"/>
    <a:srgbClr val="E3E3E3"/>
    <a:srgbClr val="FF66FF"/>
    <a:srgbClr val="FF00FF"/>
    <a:srgbClr val="8997A4"/>
    <a:srgbClr val="7C878E"/>
    <a:srgbClr val="000000"/>
    <a:srgbClr val="4B4F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88930" autoAdjust="0"/>
  </p:normalViewPr>
  <p:slideViewPr>
    <p:cSldViewPr snapToGrid="0">
      <p:cViewPr varScale="1">
        <p:scale>
          <a:sx n="77" d="100"/>
          <a:sy n="77" d="100"/>
        </p:scale>
        <p:origin x="883" y="29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tags" Target="tags/tag1.xml"/><Relationship Id="rId8" Type="http://schemas.openxmlformats.org/officeDocument/2006/relationships/slide" Target="slides/slide2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commentAuthors" Target="commentAuthor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2160 0 0,'1'-3'13414'0'0,"-1"3"-13216"0"0,8 1 4201 0 0,9 2-2516 0 0,160 51-172 0 0,-144-43-1239 0 0,147 40 208 0 0,-101-35-500 0 0,39 13 195 0 0</inkml:trace>
  <inkml:trace contextRef="#ctx0" brushRef="#br0" timeOffset="1">744 203 25939 0 0,'1'0'3'0'0,"0"1"-306"0"0,-3-1-443 0 0</inkml:trace>
</inkml:ink>
</file>

<file path=ppt/ink/ink1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5 22901 0 0,'3'-2'390'0'0,"0"-1"0"0"0,0 0 0 0 0,1 2 0 0 0,-1-1 0 0 0,1-1-1 0 0,-1 2 1 0 0,1 0 0 0 0,-1-1 0 0 0,1 1 0 0 0,0-1 0 0 0,0 2 0 0 0,5-1 0 0 0,-3 0-690 0 0,1 0-1 0 0,-1 1 1 0 0,1 0-1 0 0,-1 0 1 0 0,1 1-1 0 0,10 1 1 0 0,-15-1-467 0 0,1 2-8 0 0</inkml:trace>
</inkml:ink>
</file>

<file path=ppt/ink/ink1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92 19068 0 0,'0'-1'416'0'0,"0"-1"96"0"0,3 0 8 0 0,-3 1 16 0 0,0 0-431 0 0,1-2-105 0 0,2-1 0 0 0,0-2 0 0 0,3-2 912 0 0,0-2 160 0 0,0 1 32 0 0,1 0 8 0 0,0 2-1464 0 0,-1-1-288 0 0,1 1-56 0 0,-1 1-8 0 0,0-1 544 0 0</inkml:trace>
</inkml:ink>
</file>

<file path=ppt/ink/ink1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18060 0 0,'3'7'554'0'0,"-2"0"0"0"0,0 0-1 0 0,1 0 1 0 0,0 8 0 0 0,-1 2 884 0 0,8 61 1352 0 0,-5-26-7316 0 0,-3-44 3023 0 0</inkml:trace>
</inkml:ink>
</file>

<file path=ppt/ink/ink1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4 3369 0 0,'13'-1'5085'0'0,"24"-3"5891"0"0,-15 3-7577 0 0,83-5-3524 0 0,-21 1 34 0 0,81-7 227 0 0,11-1 1011 0 0,-157 12-1983 0 0</inkml:trace>
</inkml:ink>
</file>

<file path=ppt/ink/ink1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2 111 3369 0 0,'-12'0'2406'0'0,"3"4"15017"0"0,22-4-15848 0 0,44-3-1251 0 0,301-23 168 0 0,-171 7-271 0 0,-152 17 20 0 0,-14 0-236 0 0,232-15 73 0 0,-136 9 263 0 0,-65 5-232 0 0,103-12 192 0 0,100-4-324 0 0,-243 21 125 0 0,-10-1-665 0 0,-6 2-1865 0 0,-1-1-6214 0 0</inkml:trace>
</inkml:ink>
</file>

<file path=ppt/ink/ink1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 4897 0 0,'0'8'10280'0'0,"0"3"-5051"0"0,3 53-2245 0 0,-6 120-2612 0 0,0-123-321 0 0,6 54 1047 0 0,2-25-316 0 0,-3 46-61 0 0,0-35-593 0 0,2-50-105 0 0</inkml:trace>
  <inkml:trace contextRef="#ctx0" brushRef="#br0" timeOffset="1">30 1286 26926 0 0,'0'25'-16'0'0,"-1"20"-25"0"0,0 29 2 0 0,7 38 199 0 0,0 18-46 0 0,-6-107-147 0 0,-2 27 0 0 0,4 54 111 0 0,-1-97-76 0 0,5 102-162 0 0,-2-64 28 0 0,-1 33-115 0 0,-3-43 254 0 0,2 75 77 0 0,0-78-120 0 0</inkml:trace>
</inkml:ink>
</file>

<file path=ppt/ink/ink1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2 0 2825 0 0,'-11'6'14679'0'0,"4"1"-8177"0"0,6-6-6393 0 0,1 0 0 0 0,0 0 0 0 0,-1 0 0 0 0,1 1 0 0 0,-1-1 0 0 0,1 1 0 0 0,0-2 0 0 0,-1 2 0 0 0,1-1 0 0 0,0 1 0 0 0,0-1 0 0 0,0 0 0 0 0,0 0 0 0 0,0 1 0 0 0,1 0-1 0 0,0 5-65 0 0,0-1 0 0 0,0 0 0 0 0,1 0-1 0 0,0 1 1 0 0,-1-1 0 0 0,2 0-1 0 0,0 0 1 0 0,0 0 0 0 0,0-1-1 0 0,0 0 1 0 0,5 6 0 0 0,-6-9-34 0 0,1 0 1 0 0,0-1 0 0 0,-2 0-1 0 0,2 0 1 0 0,0 0 0 0 0,-1 0-1 0 0,1 0 1 0 0,-1 0 0 0 0,2-1-1 0 0,-2 0 1 0 0,1 1 0 0 0,0-1-1 0 0,-1 0 1 0 0,1 0-1 0 0,0 0 1 0 0,0 0 0 0 0,-1-1-1 0 0,1 1 1 0 0,-1 0 0 0 0,1-1-1 0 0,0 0 1 0 0,-1 0 0 0 0,1 0-1 0 0,-1-1 1 0 0,1 2 0 0 0,0-2-1 0 0,-2 1 1 0 0,6-4 0 0 0,-2-1 5 0 0,-2 0 0 0 0,0 0 0 0 0,1 0 0 0 0,-1 0 0 0 0,0-1 0 0 0,-1 0 0 0 0,1 1 1 0 0,1-13-1 0 0,-4 13-970 0 0</inkml:trace>
</inkml:ink>
</file>

<file path=ppt/ink/ink1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2481 0 0,'0'0'224'0'0,"0"0"-224"0"0,0 0 0 0 0,-1 0 0 0 0</inkml:trace>
</inkml:ink>
</file>

<file path=ppt/ink/ink1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 888 0 0,'-4'5'17295'0'0,"9"-1"-15193"0"0,-1-3-1639 0 0,9 5 680 0 0,-1 0-1 0 0,1-1 0 0 0,20 3 0 0 0,11 6-645 0 0,-25-8-390 0 0,-3 0 91 0 0,16 7 1 0 0,-42-15-3664 0 0</inkml:trace>
</inkml:ink>
</file>

<file path=ppt/ink/ink1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9 2 432 0 0,'0'0'71'0'0,"-10"-1"4907"0"0,2 1 4608 0 0,11 3-7293 0 0,3 1-2605 0 0,123 24 4557 0 0,-76-15-3196 0 0,57 17 1174 0 0,61 14-876 0 0,-65-19-1091 0 0,64 12 222 0 0,-55-12-298 0 0,-18-3-40 0 0,203 32 132 0 0,-88-11-110 0 0,-184-37-156 0 0,-10-1-6 0 0,30 12 0 0 0,-10-3 0 0 0,38 7 0 0 0,-51-16 0 0 0,0 2 0 0 0,31 12 0 0 0,-31-10 0 0 0,0-1 0 0 0,50 8 0 0 0,39 7 64 0 0,90 22-16 0 0,-196-40-98 0 0,-8-5-11 0 0,1 0 0 0 0,-1 0 0 0 0,0 0-1 0 0,0 0 1 0 0,0 0 0 0 0,0 0 0 0 0,1 0 0 0 0,-1 0-1 0 0,0 0 1 0 0,0 0 0 0 0,0 0 0 0 0,0 0 0 0 0,1 0-1 0 0,-1 0 1 0 0,0 0 0 0 0,0 0 0 0 0,0 0-1 0 0,0 0 1 0 0,0 0 0 0 0,0 0 0 0 0,1 1 0 0 0,-1-1-1 0 0,0 0 1 0 0,0 0 0 0 0,0 0 0 0 0,0 0 0 0 0,0 1-1 0 0,0-1 1 0 0,0 0 0 0 0,0 0 0 0 0,0 0-1 0 0,0 0 1 0 0,0 1 0 0 0,0-1 0 0 0,0 0 0 0 0,0 0-1 0 0,0 0 1 0 0,0 0 0 0 0,0 1 0 0 0,0-1 0 0 0,0 0-1 0 0,0 0 1 0 0,0 0 0 0 0,0 0 0 0 0,0 1-1 0 0,0-1 1 0 0,0 0 0 0 0,0 0 0 0 0,0 0 0 0 0,0 0-1 0 0,-1 1 1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44 1352 0 0,'-10'0'14929'0'0,"19"-1"-8713"0"0,15 1-5500 0 0,-9-2-505 0 0,1-1 0 0 0</inkml:trace>
</inkml:ink>
</file>

<file path=ppt/ink/ink1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5065 0 0,'-1'1'12251'0'0</inkml:trace>
</inkml:ink>
</file>

<file path=ppt/ink/ink1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888 0 0,'0'0'67'0'0,"2"15"13271"0"0,5 9-7276 0 0,-2-4-3369 0 0,44 182 1249 0 0,-46-191-3842 0 0,-1 1-103 0 0,1 1 0 0 0,-1-1 0 0 0,1 17 0 0 0,-4-27-3069 0 0</inkml:trace>
</inkml:ink>
</file>

<file path=ppt/ink/ink1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40 1352 0 0,'-3'-3'12001'0'0,"14"2"-10679"0"0,113-25 110 0 0,6 2 275 0 0,-59 15 385 0 0,59-13-337 0 0,-1-1-408 0 0,-114 20-1099 0 0,49-9-343 0 0,31-3 1427 0 0,-90 14-1418 0 0,-2 1-3617 0 0</inkml:trace>
</inkml:ink>
</file>

<file path=ppt/ink/ink1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144 1840 0 0,'-5'0'12347'0'0,"11"-2"-6894"0"0,19 0-4760 0 0,-18 2-447 0 0,118-20-371 0 0,-92 14 161 0 0,101-16 767 0 0,106-26-123 0 0,-112 32-760 0 0,-97 11 161 0 0,56-7 1510 0 0,-7 5 345 0 0,-79 7-2010 0 0,10-2 486 0 0,-7 1-2963 0 0</inkml:trace>
</inkml:ink>
</file>

<file path=ppt/ink/ink1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7 432 0 0,'1'-6'18145'0'0,"1"9"-16648"0"0,56 168 5035 0 0,-56-166-7126 0 0,-2-3-18 0 0,0-5 129 0 0,-1 2-125 0 0</inkml:trace>
</inkml:ink>
</file>

<file path=ppt/ink/ink1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69 888 0 0,'-9'-1'15253'0'0,"15"0"-10413"0"0,22-5-7276 0 0,-21 5 3666 0 0,64-17-1064 0 0,-15 2-63 0 0,101-20-639 0 0,-29 12 3431 0 0,31-13-1288 0 0,-101 25-794 0 0,-36 6-295 0 0,6 0-255 0 0,-11 2-9182 0 0</inkml:trace>
</inkml:ink>
</file>

<file path=ppt/ink/ink1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432 0 0,'4'1'11065'0'0,"2"0"-4019"0"0,1 1-2684 0 0,6 3-3094 0 0,7 2-296 0 0,123 30-111 0 0,-75-16-773 0 0,-25-7 246 0 0,49 9 1 0 0,74 13-68 0 0,-146-30-475 0 0,33 13 0 0 0,-53-18-1133 0 0</inkml:trace>
</inkml:ink>
</file>

<file path=ppt/ink/ink1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8 2361 0 0,'3'1'15059'0'0,"5"-2"-7314"0"0,3-1-5247 0 0,26-2-4916 0 0,-24 1 4027 0 0,-9 3-2260 0 0,11-5 1762 0 0,-8 1-9141 0 0</inkml:trace>
</inkml:ink>
</file>

<file path=ppt/ink/ink1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23 1352 0 0,'-1'-7'3503'0'0,"0"5"-2446"0"0,1 1 0 0 0,0 0 0 0 0,0-1 0 0 0,-1 2 1 0 0,1-2-1 0 0,0 1 0 0 0,1 0 0 0 0,-1-1 0 0 0,0 2 0 0 0,1-3 927 0 0,1 20 5235 0 0,0-5-6969 0 0,-1 1 0 0 0,0 21 0 0 0,-1-25-72 0 0,0 1 0 0 0,0-1-1 0 0,1 2 1 0 0,0-2 0 0 0,5 15 0 0 0,-6-23-469 0 0,1-4-607 0 0,0-6-2874 0 0,-1 5-4118 0 0</inkml:trace>
</inkml:ink>
</file>

<file path=ppt/ink/ink1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2361 0 0,'4'2'12273'0'0,"3"0"-5798"0"0,1 1-4189 0 0,24 9-1924 0 0,-31-12-356 0 0,-1 0-1 0 0,1 0 1 0 0,-1 1-1 0 0,0-1 1 0 0,0 0-1 0 0,1 0 1 0 0,-1 1-1 0 0,1-1 1 0 0,-1 0-1 0 0,1 0 1 0 0,-1 1-1 0 0,1-1 1 0 0,-1 0-1 0 0,0 0 1 0 0,1 0-1 0 0,-1 1 1 0 0,0-1-1 0 0,1 0 1 0 0,-1 1-1 0 0,0 0-33 0 0,0-1 0 0 0,-1 0 0 0 0,1 0 0 0 0,0 0 0 0 0,-1 0 0 0 0,1 0 0 0 0,0 0 0 0 0,-1 0 0 0 0,1 0 0 0 0,0 0-1 0 0,-1 0 1 0 0,1 0 0 0 0,0 0 0 0 0,-1 0 0 0 0,1 0 0 0 0,0 0 0 0 0,-1 0 0 0 0,1 0 0 0 0,0 0 0 0 0,0 0 0 0 0,0-1 0 0 0,0 1 0 0 0,0 0-1 0 0,-1 0 1 0 0,1 0 0 0 0,0 0 0 0 0,0-1 0 0 0,-1 1 0 0 0,1 0 0 0 0,0-1 0 0 0,-10-3-1746 0 0,-5-5 1922 0 0,21 9 4550 0 0,7 0-4140 0 0,12 0-939 0 0,-24 0 381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2 42 24834 0 0,'2'0'292'0'0,"3"-2"-951"0"0</inkml:trace>
</inkml:ink>
</file>

<file path=ppt/ink/ink1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8 3482 432 0 0,'-7'22'18169'0'0,"7"-29"-13011"0"0,-1-4-2455 0 0,1-9-2945 0 0,-2-14 250 0 0,1-35 290 0 0,4-84 104 0 0,-3 68-146 0 0,0 3-34 0 0,2-37-93 0 0,-2 25-17 0 0,-1 25-24 0 0,-1 47-55 0 0,3-41 0 0 0,1 28 8 0 0,-4-51-1 0 0,0 5-4 0 0,0-131-36 0 0,1-57 0 0 0,2-45 0 0 0,-2 149 0 0 0,-3-58-65 0 0,2 110 42 0 0,-4-199 23 0 0,-5 67-216 0 0,0 12 16 0 0,11 23 88 0 0,2 50-32 0 0,-1 150 134 0 0,-1 9 5 0 0,0 1 0 0 0,0 0 0 0 0,0-1 0 0 0,0 1 0 0 0,0 0 0 0 0,0-1 0 0 0,0 1 0 0 0,0-1 0 0 0,0 1 0 0 0,0 0 0 0 0,0-1 0 0 0,0 1 0 0 0,0 0 0 0 0,1 0 0 0 0,-1 0 0 0 0,0 0 0 0 0,0 0 0 0 0,1-1 0 0 0,-1 1 0 0 0,0 0 0 0 0,0 0 0 0 0,1-1 0 0 0,-1 1 0 0 0,0 0 0 0 0,1 0 0 0 0,-1 0 0 0 0,1-1 0 0 0,0 3-958 0 0</inkml:trace>
</inkml:ink>
</file>

<file path=ppt/ink/ink1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0 3891 3369 0 0,'-4'0'9154'0'0,"4"0"-8974"0"0,0 0-1 0 0,0 0 1 0 0,0 0-1 0 0,0 0 1 0 0,0 1-1 0 0,0-1 1 0 0,0 0-1 0 0,0 0 1 0 0,0 0-1 0 0,0 0 1 0 0,0 0-1 0 0,0 0 1 0 0,0 0-1 0 0,0 0 1 0 0,0 0-1 0 0,0 0 1 0 0,-4-13 4501 0 0,-1-18-1553 0 0,-5-139-1228 0 0,6 41-1301 0 0,0-50 177 0 0,4 159-741 0 0,-5-153 101 0 0,-4-12 11 0 0,-1-63 82 0 0,7 87-229 0 0,2-93 0 0 0,4-12 0 0 0,1-174 0 0 0,-13 146 0 0 0,0 73 0 0 0,23-105-49 0 0,-5 179 34 0 0,9-240 15 0 0,10 139 0 0 0,-28 260-2161 0 0</inkml:trace>
</inkml:ink>
</file>

<file path=ppt/ink/ink1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57 6793 0 0,'3'-1'10487'0'0,"3"0"-9178"0"0,214-29 7436 0 0,-88 14-8437 0 0,-92 11-251 0 0,39-2 26 0 0,249-37 1151 0 0,-243 31-1038 0 0,31-8 36 0 0,-97 18-199 0 0,26-4 1 0 0,9 0 3 0 0,-53 7-61 0 0,0 0-56 0 0,1-1 0 0 0,-1 1 1 0 0,1 0-1 0 0,-1-1 0 0 0,1 1 0 0 0,0 0 0 0 0,0 0 1 0 0,-1 0-1 0 0,1 1 0 0 0,1-1 0 0 0,-5 2-2954 0 0</inkml:trace>
</inkml:ink>
</file>

<file path=ppt/ink/ink1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3 1176 0 0,'-9'-2'15248'0'0,"16"3"-14382"0"0,28 4-962 0 0,70 19-1 0 0,-82-19-653 0 0,0 1-1 0 0,37 0 1 0 0,-16-1 472 0 0,128 13 774 0 0,-17-2-269 0 0,187 33-2059 0 0,-236-34 1706 0 0,-33-6 276 0 0,77 11-1182 0 0,-98-15 1615 0 0,33 7 50 0 0,181 26 2792 0 0,-198-33-3402 0 0,17 2 10 0 0,93 24-85 0 0,-16-2 8 0 0,-116-20 499 0 0,-29-5-58 0 0,1-1-1 0 0,31 2 0 0 0,-41-5-127 0 0,-8 1-212 0 0,2-1-1 0 0,0 0 0 0 0,0 0 0 0 0,-1 0 1 0 0,1 0-1 0 0,0 0 0 0 0,-1 0 0 0 0,0 0 1 0 0,1-1-1 0 0,2 0 0 0 0,-7 0-394 0 0</inkml:trace>
</inkml:ink>
</file>

<file path=ppt/ink/ink1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9 2361 0 0,'0'-1'100'0'0,"-2"-7"11943"0"0,2 11-7568 0 0,1 22 674 0 0,-2 11-3043 0 0,-1 5-1642 0 0,1 350 892 0 0,1-386-1354 0 0,0-3-6 0 0,0 1-1 0 0,0 0 0 0 0,0-1 0 0 0,-1 1 0 0 0,1 5 0 0 0,-2-14-2235 0 0,1 1-6999 0 0</inkml:trace>
</inkml:ink>
</file>

<file path=ppt/ink/ink1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34 4401 0 0,'-10'2'18815'0'0,"16"-3"-18034"0"0,135-31 835 0 0,-131 30-1596 0 0,-8 1-40 0 0,-5 2-60 0 0,3 0-325 0 0,-7 1-10312 0 0</inkml:trace>
</inkml:ink>
</file>

<file path=ppt/ink/ink1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5 3369 0 0,'-5'-8'5554'0'0,"5"7"-5249"0"0,0 1 0 0 0,0 0-1 0 0,0 0 1 0 0,0-1 0 0 0,1 1-1 0 0,-1 0 1 0 0,0 0 0 0 0,0-1-1 0 0,0 1 1 0 0,0 0 0 0 0,0 0-1 0 0,0 0 1 0 0,1 0 1523 0 0,-1-1-1523 0 0,0 1-1 0 0,1 0 1 0 0,-1 0 0 0 0,0 0-1 0 0,0 0 1 0 0,0 0 0 0 0,0 0-1 0 0,10-2 6607 0 0,-4 3-7783 0 0,173 32-2136 0 0,30 3 3092 0 0,-180-31 14 0 0,70 8 384 0 0,-39-7-299 0 0,61 14-1 0 0,-27-4 350 0 0,-48-9-441 0 0,180 30 818 0 0,-54-14-656 0 0,8 2 14 0 0,-123-16-294 0 0,-29-6 5 0 0,26 8-1 0 0,38 6 23 0 0,-16-4 0 0 0,13 10 938 0 0,-46-11 222 0 0,78 12-1 0 0,26 0-1040 0 0,-115-18-94 0 0,7 2 31 0 0,-40-7-544 0 0,0-1-33 0 0</inkml:trace>
</inkml:ink>
</file>

<file path=ppt/ink/ink1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0 3369 0 0,'0'1'13180'0'0,"0"19"-9075"0"0,-7 267 1559 0 0,5-267-5652 0 0,1 96 197 0 0,4 87 178 0 0,2-31-202 0 0,-1-38 30 0 0,-2 31-68 0 0,-4 70-174 0 0,2-194 27 0 0,2 71 0 0 0,5-22 33 0 0,-8 172 1 0 0,-4-148 2 0 0,3-50-11 0 0,1 141 70 0 0,2-104-62 0 0,-3 183 31 0 0,7 78-64 0 0,-3-128 192 0 0,-1-216-204 0 0,0-14 5 0 0,-1 1 1 0 0,1 0-1 0 0,-1 0 1 0 0,-1-1-1 0 0,1 1 1 0 0,-1 0-1 0 0,-2 8 1 0 0,3-13-1 0 0,0 0 0 0 0,0 0 0 0 0,0 0 0 0 0,0 0 0 0 0,0 0 0 0 0,0 0 0 0 0,0 0 0 0 0,0 0 0 0 0,0-1 0 0 0,0 1 0 0 0,0 0 0 0 0,0 0 0 0 0,0 0 0 0 0,0 0 0 0 0,0 0-1 0 0,0 0 1 0 0,0 0 0 0 0,0 0 0 0 0,0 0 0 0 0,0-1 0 0 0,0 1 0 0 0,0 0 0 0 0,0 0 0 0 0,0 0 0 0 0,-1 0 0 0 0,1 0 0 0 0,0 0 0 0 0,0 0 0 0 0,0 0 0 0 0,0 0 0 0 0,0 0 0 0 0,0 0 0 0 0,0 0 0 0 0,-1 0 0 0 0,1 0 0 0 0,0 0 0 0 0,0 0 0 0 0,0 0 0 0 0,0 0 0 0 0,0 0 0 0 0,0 0 0 0 0,0 0 0 0 0,-1 0 0 0 0,1 0 0 0 0,0 0 0 0 0,0 0 0 0 0,0 0 0 0 0,0 0 0 0 0,0 0-1 0 0,0 0 1 0 0,0 0 0 0 0,0 0 0 0 0,-1 1 0 0 0,1-1 0 0 0,0 0 0 0 0,0 0 0 0 0,0 0 0 0 0,0 0 0 0 0,0 0 0 0 0,0 0 0 0 0,0 0 0 0 0,0 0 0 0 0,0 1 0 0 0,0-1 0 0 0,0 0 0 0 0,0 0 0 0 0,0 0 0 0 0,0 0 0 0 0,0 0 0 0 0,-3-7-685 0 0,3 1 292 0 0</inkml:trace>
</inkml:ink>
</file>

<file path=ppt/ink/ink1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270 7258 0 0,'-7'-2'11130'0'0,"12"1"-9306"0"0,22 2-1301 0 0,0-1 0 0 0,-1-2-1 0 0,36-5 1 0 0,33-4 483 0 0,84-4-1078 0 0,-12-14-152 0 0,-8 3 725 0 0,112-16 622 0 0,14 9-627 0 0,-93 14-240 0 0,-14 0-242 0 0,-122 12 132 0 0,74-14-76 0 0,-19 4 20 0 0,28-2-252 0 0,-138 19 434 0 0,2-1-1530 0 0</inkml:trace>
</inkml:ink>
</file>

<file path=ppt/ink/ink1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4 432 0 0,'-6'-3'10362'0'0,"9"4"-3994"0"0,13 5-3207 0 0,78 7-731 0 0,-29-5-2146 0 0,113 10 1305 0 0,-62-8-1034 0 0,-18-4-281 0 0,-56-6-3051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888 0 0,'2'7'11851'0'0,"-1"3"-5210"0"0,-1-3-5415 0 0</inkml:trace>
</inkml:ink>
</file>

<file path=ppt/ink/ink1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0 0 3369 0 0,'-4'2'9060'0'0,"0"1"-3694"0"0,-10 14-629 0 0,11-11-3887 0 0,-9 7-237 0 0,2 2 0 0 0,1 0-1 0 0,-1 0 1 0 0,-10 27 0 0 0,6-11-539 0 0,9-22-36 0 0,1 0 0 0 0,0 1 0 0 0,0 0 0 0 0,-2 10 0 0 0,0 6-38 0 0,3-14 0 0 0,-2 20 0 0 0,-1 9 44 0 0,3-14 45 0 0,0 2 1 0 0,2 45-1 0 0,4 24-34 0 0,-3-69-46 0 0,-1-11-31 0 0,-3 17 0 0 0,1-18 0 0 0,2 19 0 0 0,-1-1 36 0 0,1-20-2 0 0,1 1 1 0 0,0-1-1 0 0,3 18 1 0 0,16 97 92 0 0,-10-43-10 0 0,-4-5-79 0 0,-4-73 42 0 0,1 0-1 0 0,0 1 1 0 0,0-1 0 0 0,1 0 0 0 0,5 14 0 0 0,-2-7-21 0 0,0 0-2 0 0,0 1 0 0 0,0-2 0 0 0,2 1 0 0 0,0-1 0 0 0,1 0 0 0 0,14 18 0 0 0,-19-27-13 0 0,1 1 1 0 0,0 0-1 0 0,-1 0 0 0 0,5 13 0 0 0,4 7 14 0 0,-13-27-37 0 0,0 0-4 0 0,0 0-1 0 0,0 0 1 0 0,0 0 0 0 0,0 1-1 0 0,0-1 1 0 0,0 0-1 0 0,0 0 1 0 0,0 0 0 0 0,0 0-1 0 0,0 0 1 0 0,0 0-1 0 0,0 0 1 0 0,0 0-1 0 0,0 0 1 0 0,0 0 0 0 0,0 0-1 0 0,0 0 1 0 0,0 0-1 0 0,0 0 1 0 0,0 0 0 0 0,0 1-1 0 0,0-1 1 0 0,0 0-1 0 0,0 0 1 0 0,0 0 0 0 0,1 0-1 0 0,-1 0 1 0 0,0 0-1 0 0,0 0 1 0 0,0 0 0 0 0,0 0-1 0 0,0 0 1 0 0,0 0-1 0 0,0 1 1 0 0,1-1-1 0 0,-1 0 1 0 0,0 0 0 0 0,0 0-1 0 0,0 0 1 0 0,0 0-1 0 0,0 0 1 0 0,0 0 0 0 0,1 0-1 0 0,-1 0 1 0 0,0 0-1 0 0,0 0 1 0 0,0 0 0 0 0,0 0-1 0 0,0 0 1 0 0,0-1-1 0 0,0 1 1 0 0,1 0 0 0 0,-1 0-1 0 0,0 0 1 0 0,0 0-1 0 0,0 0 1 0 0,0 0-1 0 0,0 0 1 0 0,0 0 0 0 0,1-2-342 0 0</inkml:trace>
</inkml:ink>
</file>

<file path=ppt/ink/ink1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9 8498 0 0,'-7'-8'18637'0'0,"14"11"-18584"0"0,1 1 25 0 0,-1-2 0 0 0,1 1 0 0 0,10 1 0 0 0,-14-3-59 0 0,-2-1 1 0 0,2 1-1 0 0,-2-1 0 0 0,2 0 0 0 0,-2 0 0 0 0,2 0 1 0 0,-2 0-1 0 0,2-1 0 0 0,-2 0 0 0 0,2 1 1 0 0,-2 0-1 0 0,5-3 0 0 0,-7 3-45 0 0,0 0 0 0 0,0 0 0 0 0,0 0 0 0 0,0 0-1 0 0,0 0 1 0 0,0 0 0 0 0,0 0 0 0 0,0 0 0 0 0,0 0 0 0 0,0-1 0 0 0,0 1 0 0 0,0 0 0 0 0,0 0-1 0 0,0 0 1 0 0,0 0 0 0 0,0 0 0 0 0,0 0 0 0 0,0 0 0 0 0,0 0 0 0 0,0 0 0 0 0,0 0 0 0 0,0-1-1 0 0,0 1 1 0 0,0 0 0 0 0,0 0 0 0 0,0 0 0 0 0,0 0 0 0 0,0 0 0 0 0,0 0 0 0 0,0 0 0 0 0,0 0 0 0 0,0 0-1 0 0,0 0 1 0 0,0-1 0 0 0,0 1 0 0 0,0 0 0 0 0,0 0 0 0 0,0 0 0 0 0,0 0 0 0 0,0 0 0 0 0,0 0-1 0 0,0 0 1 0 0,0 0 0 0 0,0 0 0 0 0,0 0 0 0 0,0 0 0 0 0,0 0 0 0 0,0 0 0 0 0,0 0 0 0 0,0 0-1 0 0,0-1 1 0 0,0 1 0 0 0,0 0 0 0 0,0 0 0 0 0,0 0 0 0 0,0 0 0 0 0,0 0 0 0 0,-1 0 0 0 0,1 0 0 0 0,0 0-1 0 0,0 0 1 0 0,0 0 0 0 0,0 0 0 0 0,0 0 0 0 0,0 0 0 0 0,-2 0-900 0 0</inkml:trace>
</inkml:ink>
</file>

<file path=ppt/ink/ink1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53 0 4665 0 0,'-4'2'11287'0'0,"-2"1"-4644"0"0,-6 9-2927 0 0,-3 8-5777 0 0,11-13 3819 0 0,-7 12-1817 0 0,-12 30 0 0 0,3 2 257 0 0,-22 76 0 0 0,37-102 71 0 0,-3 51 1 0 0,8-65-233 0 0,-2 100 299 0 0,1-18-176 0 0,1-78-112 0 0,1-1 0 0 0,4 21 0 0 0,-1 2 16 0 0,8 58-64 0 0,0 9 0 0 0,-11-71 9 0 0,5 39 42 0 0,2-11 26 0 0,-4-29-19 0 0,11 52 0 0 0,-9-63 63 0 0,16 36-1 0 0,-17-47-122 0 0,0 0-1 0 0,1 0 1 0 0,0-1 0 0 0,0 1-1 0 0,11 10 1 0 0,-6-10 83 0 0,52 55 681 0 0,-60-62-747 0 0,8 7 70 0 0,-10-10-93 0 0,-1 1 1 0 0,1-1-1 0 0,-1 1 1 0 0,1-1-1 0 0,-1 0 0 0 0,1 1 1 0 0,-1-1-1 0 0,1 0 1 0 0,-1 1-1 0 0,0-1 1 0 0,0 0-1 0 0,1 0 1 0 0,-1 0-1 0 0,1 0 0 0 0,0 1 1 0 0,-1-1-1 0 0,1 0 1 0 0,-1 0-1 0 0,1 0 1 0 0,1-1-1 0 0,-2-1-404 0 0,1-1 0 0 0</inkml:trace>
</inkml:ink>
</file>

<file path=ppt/ink/ink1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 7858 0 0,'3'0'11330'0'0,"10"-1"-4338"0"0,-10 1-6887 0 0,1-1 0 0 0,1 2-1 0 0,-2-1 1 0 0,1 0 0 0 0,1 1-1 0 0,-2 0 1 0 0,7 1 0 0 0,-7 0-279 0 0,9 4 649 0 0,-11-6-568 0 0,-1 0 0 0 0,0 0 0 0 0,1 0 0 0 0,-1 0 0 0 0,0 0-1 0 0,1 1 1 0 0,-1-1 0 0 0,1 0 0 0 0,-1 0 0 0 0,0 0 0 0 0,0 0 0 0 0,0 0 0 0 0,1 0 0 0 0,-1 0 0 0 0,0 0 0 0 0,1 0 0 0 0,-1-1 0 0 0,1 1 0 0 0,-1 0 0 0 0,0 0-1 0 0,1 0 1 0 0,-1 0 0 0 0,1-1 0 0 0,-1 1 0 0 0,0 0 0 0 0,1 0 0 0 0,-1 0 0 0 0,0-1 0 0 0</inkml:trace>
</inkml:ink>
</file>

<file path=ppt/ink/ink1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54 0 6057 0 0,'0'0'471'0'0,"0"0"-311"0"0,-1 1 375 0 0,0-1-1 0 0,0 0 1 0 0,1 0 0 0 0,-1 1-1 0 0,0-1 1 0 0,0 1 0 0 0,1-1-1 0 0,0 0 1 0 0,-1 0 0 0 0,0 1-1 0 0,0-1 1 0 0,1 1 0 0 0,-1-1-1 0 0,0 1 1 0 0,1 0 0 0 0,-1 0-1 0 0,1-1 1 0 0,0 1 0 0 0,-10 16 3117 0 0,7-12-2528 0 0,-54 81 2786 0 0,51-75-3769 0 0,-1 0 0 0 0,1 0-1 0 0,1 0 1 0 0,0 0-1 0 0,1 1 1 0 0,-6 20 0 0 0,1 18 56 0 0,0 1 0 0 0,0 94 1 0 0,8-44-118 0 0,2 93 136 0 0,3-104-136 0 0,-3 4-80 0 0,-1-71 0 0 0,1-7 21 0 0,0 0 1 0 0,0 0-1 0 0,2 0 0 0 0,0-1 1 0 0,6 19-1 0 0,-4-13-24 0 0,5 25 1 0 0,-2 1-1 0 0,-4-32 18 0 0,0-1 0 0 0,0 0 0 0 0,11 19 0 0 0,-11-25-8 0 0,0 0 1 0 0,1-1-1 0 0,0 0 1 0 0,0 0-1 0 0,1-1 1 0 0,0 0-1 0 0,8 8 1 0 0,-9-9 6 0 0,0 1 0 0 0,-1 0 0 0 0,0 0 1 0 0,1 0-1 0 0,-2 0 0 0 0,6 11 0 0 0,4 6 15 0 0,-8-13-63 0 0,2-1-1 0 0,-1 0 1 0 0,1-1-1 0 0,0 0 1 0 0,16 14-1 0 0,-18-21-602 0 0,-4-1 393 0 0</inkml:trace>
</inkml:ink>
</file>

<file path=ppt/ink/ink1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0 1 7858 0 0,'0'0'609'0'0,"5"0"9107"0"0,8 0-4954 0 0,0 3-3414 0 0,-10-2-1273 0 0,1 1 1 0 0,-1-1-1 0 0,1 0 0 0 0,0 0 1 0 0,-1-1-1 0 0,1 0 1 0 0,0 0-1 0 0,-1 0 0 0 0,6 0 1 0 0,-11 0-5 0 0,1 1 1 0 0,0 0 0 0 0,-1 0-1 0 0,1 0 1 0 0,-1 0 0 0 0,2 0-1 0 0,-2 0 1 0 0,1 0 0 0 0,0 1 0 0 0,-1-1-1 0 0,2 1 1 0 0,-1-2 0 0 0,0 2-1 0 0,-1 1 1 0 0,-1 1-12 0 0,-40 68 421 0 0,12-21-170 0 0,25-39-253 0 0,1-1 1 0 0,0 0-1 0 0,0 0 1 0 0,1 1-1 0 0,1 0 1 0 0,-3 16 0 0 0,2-11-37 0 0,-19 108 98 0 0,18-38 144 0 0,8 31-264 0 0,-2-72 352 0 0,13 76 0 0 0,-10-61-352 0 0,-1-20 0 0 0,-2-20 13 0 0,-2 22-1 0 0,0-28-2 0 0,1 1 0 0 0,0-1-1 0 0,4 25 1 0 0,0-16 20 0 0,0 38 1 0 0,1 5 12 0 0,-2-56 43 0 0,-1-1 0 0 0,1 1 0 0 0,4 9 0 0 0,-4-11-105 0 0,2 0 0 0 0,-1-2-1 0 0,10 16 1 0 0,18 24 8 0 0,-18-24 23 0 0,18 39 0 0 0,-30-59-13 0 0,0 1-1 0 0,0 0 0 0 0,0-1 1 0 0,1 1-1 0 0,-1-1 0 0 0,1 1 1 0 0,0-2-1 0 0,5 6 1 0 0,-8-8 0 0 0,1 0 0 0 0,-1 0 1 0 0,0 1-1 0 0,1-1 0 0 0,-1 0 1 0 0,1 1-1 0 0,-1-1 0 0 0,0 0 1 0 0,1 1-1 0 0,-1-1 1 0 0,0 0-1 0 0,0 0 0 0 0,0 0 1 0 0,0 1-1 0 0,0-1 0 0 0,1 1 1 0 0,-1-1-1 0 0,0 0 1 0 0,0 1-1 0 0,0-1 0 0 0,0 1 1 0 0,0-1-1 0 0,0 1 0 0 0,1-1 1 0 0,-1 1-1 0 0,0-1 1 0 0,0 0-1 0 0,-1 0 0 0 0,1 1 1 0 0,0-1-1 0 0,0 1 0 0 0,0-1 1 0 0,0 1-1 0 0,0 0 1 0 0,-11 12 22 0 0,6-7 24 0 0,5-6-60 0 0,0 0 1 0 0,0 0-1 0 0,0 1 0 0 0,-1-1 0 0 0,1 0 0 0 0,0 0 0 0 0,0 1 1 0 0,0-1-1 0 0,-1 0 0 0 0,1 0 0 0 0,0 0 0 0 0,0 0 0 0 0,-1 0 1 0 0,1 0-1 0 0,0 0 0 0 0,-1 0 0 0 0,1 1 0 0 0,0-1 0 0 0,0 0 1 0 0,0 0-1 0 0,0 0 0 0 0,-1 0 0 0 0,1 0 0 0 0,0 0 0 0 0,-1 0 1 0 0,1 0-1 0 0,0 0 0 0 0,-1 0 0 0 0,1 0 0 0 0,0 0 0 0 0,-1 0 1 0 0,1 0-1 0 0,0 0 0 0 0,0 0 0 0 0,-1-1 0 0 0,1 1 0 0 0,0 0 1 0 0,-1 0-1 0 0,1 0 0 0 0,0 0 0 0 0,0 0 0 0 0,0 0 0 0 0,-1-2-399 0 0</inkml:trace>
</inkml:ink>
</file>

<file path=ppt/ink/ink1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2881 0 0,'0'0'213'0'0,"0"0"-129"0"0,0 16 8614 0 0,0 5-2357 0 0,2 11-2492 0 0,2 139-1203 0 0,-3-80-2438 0 0,1 1-125 0 0,2 114 332 0 0,-2-68-268 0 0,5 11 302 0 0,2-11-529 0 0,-5-21 654 0 0,-4-101-548 0 0,1 9 17 0 0,0-15-1 0 0,-1 20 1 0 0,1-19-666 0 0,-1-9 343 0 0,1-1 1 0 0,-1-1 0 0 0,0 2-1 0 0,0-1 1 0 0,1 0 0 0 0,-1 1-1 0 0,0-2 1 0 0,0 1 0 0 0,-1 1-1 0 0,1-1 1 0 0,0 1 0 0 0,0-1-1 0 0,-1-1 1 0 0,0 4 0 0 0</inkml:trace>
</inkml:ink>
</file>

<file path=ppt/ink/ink1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0 6793 0 0,'-1'4'7696'0'0,"0"4"-3579"0"0,-3 19 18 0 0,3 99-1004 0 0,1-112-3045 0 0,-1 106 204 0 0,-2-24 36 0 0,3-67-261 0 0,4 151 158 0 0,8 9-159 0 0,-12-67 61 0 0,0-109-279 0 0,0 6-412 0 0,2-7-5046 0 0</inkml:trace>
</inkml:ink>
</file>

<file path=ppt/ink/ink1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2881 0 0,'-1'5'4081'0'0,"0"8"-2114"0"0,1-11-1415 0 0,-1 66 8555 0 0,9 35-5458 0 0,-2-17-2329 0 0,-3-23-759 0 0,5 113-274 0 0,-7-84 595 0 0,5 90-425 0 0,7 48-379 0 0,-11-32 684 0 0,-2-168-554 0 0,-3 87-226 0 0,4 22 206 0 0,-2-79 40 0 0,2 270-12 0 0,0-256-160 0 0,-2 71 48 0 0,4-7-227 0 0,1-88 83 0 0,-4 7-847 0 0,-3-34-2912 0 0,2-20 2775 0 0</inkml:trace>
</inkml:ink>
</file>

<file path=ppt/ink/ink1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3 2881 0 0,'-4'-3'9914'0'0,"1"14"-2794"0"0,2 19-4524 0 0,4 35 0 0 0,-1 10-2644 0 0,-7 104 955 0 0,5-42-601 0 0,3 8-359 0 0,7-64 192 0 0,-1 2 21 0 0,-8-36-3800 0 0,-1-48 2511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45 69 20928 0 0,'16'4'396'0'0,"76"25"2421"0"0,68 22-2689 0 0,-48-19 844 0 0,-33-12-726 0 0,73 24-144 0 0,-25-2-182 0 0,-121-40 81 0 0,24 8 35 0 0,45 7-1 0 0,-64-15-37 0 0,1 0-1 0 0,-2 2 0 0 0,1-1 1 0 0,-1 1-1 0 0,15 7 0 0 0,-20-8-275 0 0,-5-3 233 0 0,0 0-1 0 0,0-1 0 0 0,0 1 1 0 0,-1 0-1 0 0,1 0 1 0 0,0 0-1 0 0,0 0 1 0 0,0 0-1 0 0,0 0 0 0 0,0 0 1 0 0,0 0-1 0 0,0 0 1 0 0,0 0-1 0 0,0 0 1 0 0,0 0-1 0 0,0 0 0 0 0,0 0 1 0 0,0 0-1 0 0,0 0 1 0 0,0 0-1 0 0,-1 0 1 0 0,1 0-1 0 0,0 0 0 0 0,0 1 1 0 0,0-1-1 0 0,0 0 1 0 0,0 0-1 0 0,0 0 1 0 0,0 0-1 0 0,0 0 0 0 0,0 0 1 0 0,0 0-1 0 0,0 0 1 0 0,0 0-1 0 0,0 0 1 0 0,0 0-1 0 0,0 0 0 0 0,0 0 1 0 0,0 0-1 0 0,0 0 1 0 0,0 0-1 0 0,0 0 1 0 0,0 0-1 0 0,0 0 0 0 0,0 0 1 0 0,0 1-1 0 0,0-1 1 0 0,0 0-1 0 0,0 0 1 0 0,0 0-1 0 0,0 0 0 0 0,0 0 1 0 0,0 0-1 0 0,0 0 1 0 0,0 0-1 0 0,0 0 1 0 0,0 0-1 0 0,0 0 0 0 0,0 0 1 0 0,0 0-1 0 0,0 0 1 0 0,0 0-1 0 0,0 0 1 0 0,0 1-1 0 0,0-1 0 0 0</inkml:trace>
</inkml:ink>
</file>

<file path=ppt/ink/ink1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 2881 0 0,'-1'3'4231'0'0,"0"14"-1317"0"0,-1 130 8060 0 0,1 1-6862 0 0,2-70-3877 0 0,-1 72 786 0 0,1-114-771 0 0,0 3-174 0 0,-2-13-28 0 0,1-3-48 0 0,0-24-358 0 0,-1-1-1741 0 0</inkml:trace>
</inkml:ink>
</file>

<file path=ppt/ink/ink1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3889 0 0,'1'82'12587'0'0,"1"1"-7455"0"0,0 81-3474 0 0,-2-89-1230 0 0,-1 121 1575 0 0,0-144-1804 0 0,-1 99 337 0 0,13 95 99 0 0,-2-116-469 0 0,-6-87-161 0 0,14 480 419 0 0,-22-371-232 0 0,3-89-92 0 0,9 103 0 0 0,3 4-324 0 0,-10-147 224 0 0,0 0 0 0 0,-6 38 0 0 0,2-37 0 0 0,3-1 0 0 0,0 36 0 0 0,2-19-400 0 0,-1-31 496 0 0,0-7-628 0 0,0-7-1743 0 0</inkml:trace>
</inkml:ink>
</file>

<file path=ppt/ink/ink1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3 80 5065 0 0,'-13'0'14037'0'0,"22"-1"-10560"0"0,105-12-599 0 0,-59 7-2620 0 0,-5 0-272 0 0,87-7 1175 0 0,-105 10-1105 0 0,43-10 1 0 0,-38 6-34 0 0,20-7-6132 0 0,-43 11 3109 0 0</inkml:trace>
</inkml:ink>
</file>

<file path=ppt/ink/ink1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9 69 1840 0 0,'-14'1'3845'0'0,"-1"-1"5152"0"0,21-1-3572 0 0,7-1-3729 0 0,67-9 1147 0 0,28-2-1873 0 0,48 4-428 0 0,7-2 162 0 0,-114 7-699 0 0,-43 3-18 0 0,0 0-1 0 0,0 0 1 0 0,0 0 0 0 0,0-2-1 0 0,-1 1 1 0 0,7-3 0 0 0,-7 2 372 0 0,-4 1-1816 0 0</inkml:trace>
</inkml:ink>
</file>

<file path=ppt/ink/ink1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2361 0 0,'6'1'5004'0'0,"6"1"-1756"0"0,90 12 4354 0 0,-1-3-6083 0 0,-47-4-1978 0 0,24 3 1519 0 0,151 1-1759 0 0,-219-11-181 0 0,28 3 2186 0 0,-26-1-4044 0 0,0 2-3997 0 0,-9-3 2139 0 0</inkml:trace>
</inkml:ink>
</file>

<file path=ppt/ink/ink1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5 31 1352 0 0,'-12'-1'4618'0'0,"10"0"-2977"0"0,-1 1 0 0 0,1 0 0 0 0,-1 0 0 0 0,0 0 0 0 0,1 0 0 0 0,-5 1 0 0 0,8 0-1485 0 0,-1 0-1 0 0,1 0 1 0 0,0-1-1 0 0,-1 1 1 0 0,1 0-1 0 0,-1-1 1 0 0,1 0 0 0 0,0 1-1 0 0,0-1 1 0 0,0 1-1 0 0,0-1 1 0 0,-1 0-1 0 0,3 1 1 0 0,120 14 653 0 0,-69-11-1312 0 0,34 6 814 0 0,-68-7-330 0 0,22 0 0 0 0,-28-3 210 0 0,2 2-1 0 0,-1 0 1 0 0,23 6-1 0 0,-33-8-153 0 0,0 1 0 0 0,-1 0 0 0 0,1 0-1 0 0,0-1 1 0 0,-1 0 0 0 0,0 0-1 0 0,2-1 1 0 0,3-1 0 0 0,-3 2 17 0 0,1 0 1 0 0,-1-1-1 0 0,8 1 1 0 0,20-2 1449 0 0,-32 1-1464 0 0,0 1 1 0 0,-1-1 0 0 0,1 1-1 0 0,0-1 1 0 0,0 1-1 0 0,-1-1 1 0 0,1 0-1 0 0,0 0 1 0 0,-1 0-1 0 0,0 0 1 0 0,3-2-1 0 0,13-14 489 0 0,18-33 1265 0 0,-29 47-2098 0 0</inkml:trace>
</inkml:ink>
</file>

<file path=ppt/ink/ink1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3 1840 0 0,'-1'0'317'0'0,"1"0"-1"0"0,0-1 1 0 0,0 1-1 0 0,-1 0 0 0 0,1 0 1 0 0,0 0-1 0 0,-1 0 0 0 0,1-1 1 0 0,0 1-1 0 0,0 0 1 0 0,-1 0-1 0 0,1 0 0 0 0,0 0 1 0 0,-1 0-1 0 0,1 0 1 0 0,0 0-1 0 0,-1 0 0 0 0,1 0 1 0 0,0 0-1 0 0,0 0 1 0 0,0 0-1 0 0,0 0 0 0 0,-1 0 1 0 0,1 0-1 0 0,0 0 0 0 0,-1 0 1 0 0,1 1-1 0 0,0-1 1 0 0,0 0-1 0 0,-1 0 0 0 0,1 8 4704 0 0,1-5-4501 0 0,0-1 0 0 0,0 0 0 0 0,-1 1 0 0 0,1-1-1 0 0,1-1 1 0 0,1 5 0 0 0,2-2 14 0 0,-1 0 0 0 0,0 0 0 0 0,1-1 0 0 0,7 6 0 0 0,-10-8-669 0 0,-1-1 0 0 0,1 1-1 0 0,1 0 1 0 0,-2 0 0 0 0,1-1-1 0 0,0 1 1 0 0,-1-1 0 0 0,2 1 0 0 0,-1-1-1 0 0,-1 0 1 0 0,2 0 0 0 0,-1 0 0 0 0,0 0-1 0 0,0 0 1 0 0,0 0 0 0 0,3-2-1 0 0</inkml:trace>
</inkml:ink>
</file>

<file path=ppt/ink/ink1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0 4561 0 0,'-2'3'408'0'0,"1"-2"-328"0"0,1 0-80 0 0,-1 0 0 0 0,1 0 0 0 0,0-1 0 0 0,-1 0 0 0 0,1 1 0 0 0,0 0 0 0 0,-1-1 0 0 0,0 1 0 0 0,0 0 0 0 0</inkml:trace>
</inkml:ink>
</file>

<file path=ppt/ink/ink1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9 3 432 0 0,'-4'-3'17693'0'0,"-5"8"-12773"0"0,-6 10-3721 0 0,7-5-419 0 0,-11 16 0 0 0,17-24-742 0 0,0 0 0 0 0,1 1 0 0 0,-1 0-1 0 0,1 0 1 0 0,0 0 0 0 0,-1-1 0 0 0,2 2 0 0 0,-1-2 0 0 0,1 1 0 0 0,-1 0 0 0 0,1 0-1 0 0,-1 5 1 0 0,1-8-85 0 0,0 1-1 0 0,0-1 0 0 0,0 1 0 0 0,0-1 0 0 0,1 1 1 0 0,-1-1-1 0 0,0 1 0 0 0,0-1 0 0 0,0 1 1 0 0,1-1-1 0 0,-1 0 0 0 0,0 1 0 0 0,0-1 1 0 0,1 0-1 0 0,-1 0 0 0 0,0 0 0 0 0,0 1 1 0 0,0-1-1 0 0,0 0 0 0 0,1 1 0 0 0,-1-1 1 0 0,1 0-1 0 0,-1 1 0 0 0,0-1 0 0 0,1 0 0 0 0,0 0 1 0 0,2 1-1075 0 0</inkml:trace>
</inkml:ink>
</file>

<file path=ppt/ink/ink1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1 3889 0 0,'-1'-11'19533'0'0,"1"16"-16868"0"0,0-4-2398 0 0,1 0-31 0 0,15 26 1038 0 0,-3-6-2456 0 0,-7-6-5626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5 432 0 0,'-2'-5'18580'0'0,"1"26"-14819"0"0,-2 33-2163 0 0,3-41-1224 0 0</inkml:trace>
  <inkml:trace contextRef="#ctx0" brushRef="#br0" timeOffset="1">11 552 28647 0 0,'0'1'12'0'0,"-1"31"-322"0"0,2-14-2684 0 0</inkml:trace>
</inkml:ink>
</file>

<file path=ppt/ink/ink1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7 1 2361 0 0,'-2'1'12963'0'0,"-9"11"-7516"0"0,-17 37 19 0 0,19-36-5144 0 0,1 1-1 0 0,1 0 0 0 0,0 0 0 0 0,-7 22 0 0 0,14-26-763 0 0</inkml:trace>
</inkml:ink>
</file>

<file path=ppt/ink/ink1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4 1 3369 0 0,'-4'3'16788'0'0,"-4"3"-13348"0"0,-6 6-4432 0 0,7-3 1347 0 0,3-4-288 0 0,-1 1 1 0 0,2-1-1 0 0,-2 0 0 0 0,2 0 0 0 0,0 1 0 0 0,1 0 1 0 0,-1-1-1 0 0,-3 12 0 0 0,-2 14 814 0 0,5-24-599 0 0,1 0 0 0 0,0 1 0 0 0,-1 8-1 0 0,1 0-262 0 0,1-9-4 0 0,1-1 1 0 0,-1 0-1 0 0,1 10 0 0 0,0-8-21 0 0,0 0-1 0 0,-1 0 0 0 0,-2 11 1 0 0,0 14-38 0 0,2 27-54 0 0,0-27 98 0 0,-1-8 0 0 0,2 19-297 0 0,-2-24-4 0 0,2 0 0 0 0,2 24 0 0 0,-1-33 361 0 0,-1 0-1 0 0,-1 17 1 0 0,1 10 81 0 0,0 39 160 0 0,0 4 30 0 0,1-13-163 0 0,-2-35-112 0 0,1-9 59 0 0,0-12 25 0 0,-1-2 1 0 0,3 19 0 0 0,1 19 127 0 0,-1-15-112 0 0,-2-18-122 0 0,-2 27 1 0 0,-1 0 21 0 0,1-18 123 0 0,1-20-311 0 0,1 0 0 0 0,-1 1 0 0 0,1-1 0 0 0,0 0 0 0 0,0 1 0 0 0,0-2 1 0 0,0 1-1 0 0,1 1 0 0 0,1 3 0 0 0</inkml:trace>
</inkml:ink>
</file>

<file path=ppt/ink/ink1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1 1 2361 0 0,'-13'13'8747'0'0,"1"-10"-2720"0"0,-2 7-2916 0 0,12-8-2857 0 0,0-1 1 0 0,1 0 0 0 0,-1 1-1 0 0,0-1 1 0 0,0 0-1 0 0,0 0 1 0 0,0 0 0 0 0,0 0-1 0 0,0 0 1 0 0,0 0-1 0 0,-2 0 1 0 0,2-1-192 0 0,0 1-1 0 0,1-1 1 0 0,0 0-1 0 0,-1 1 1 0 0,0-1-1 0 0,1 1 1 0 0,0 0 0 0 0,-1 0-1 0 0,1 0 1 0 0,-1 0-1 0 0,1-1 1 0 0,0 2-1 0 0,0-1 1 0 0,-1 0 0 0 0,1 1-1 0 0,0-2 1 0 0,1 2-1 0 0,-1-1 1 0 0,0 1-1 0 0,0-1 1 0 0,0 0-1 0 0,0 1 1 0 0,1 0 0 0 0,-1 0-1 0 0,1 2 1 0 0,-3 5-93 0 0,1 1 0 0 0,1-1 0 0 0,0 15 0 0 0,-1-4 427 0 0,-4 80-94 0 0,5-61-246 0 0,3 52-137 0 0,-1-5-311 0 0,-1-3 14 0 0,0-27 248 0 0,1 8-55 0 0,-2 109-15 0 0,6 54 1071 0 0,-4-161-691 0 0,1 21 114 0 0,3 34 598 0 0,-5-117-3950 0 0</inkml:trace>
</inkml:ink>
</file>

<file path=ppt/ink/ink1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 888 0 0,'-4'3'9736'0'0,"2"7"-5491"0"0,2 9-1986 0 0,0-17-1399 0 0,3 89 5999 0 0,0 34-5218 0 0,-10 31-1421 0 0,5 78 158 0 0,13 112-50 0 0,-10-319-297 0 0,-4 38 1 0 0,0-49-15 0 0,1-13-3071 0 0</inkml:trace>
</inkml:ink>
</file>

<file path=ppt/ink/ink1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3369 0 0,'-1'1'10895'0'0,"8"0"-7726"0"0,9 0-1401 0 0,114 11 1407 0 0,-29-3-1586 0 0,-78-7-1410 0 0,22 0 429 0 0,-17 4-5104 0 0</inkml:trace>
</inkml:ink>
</file>

<file path=ppt/ink/ink1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 2881 0 0,'2'-2'8096'0'0,"-1"2"-7956"0"0,6 2 2960 0 0,13 5-2720 0 0,-16-7 525 0 0,66 23 1982 0 0,107 19 1 0 0,-39-9-1784 0 0,42 5 984 0 0,-170-36-2157 0 0,9 2-199 0 0,-19-2-3628 0 0,-6 10 5929 0 0,2 1-278 0 0,-3 23 1 0 0,7-31-1967 0 0,-1 0 1 0 0,1 0 0 0 0,0 0-1 0 0,1 1 1 0 0,-1-1 0 0 0,1 0-1 0 0,3 9 1 0 0</inkml:trace>
</inkml:ink>
</file>

<file path=ppt/ink/ink1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36 1352 0 0,'2'-4'18186'0'0,"-1"4"-20536"0"0,293-43 6736 0 0,-241 35-3275 0 0,31-7-210 0 0,23 0-66 0 0,-34 6-411 0 0,-67 8-422 0 0,231-40 716 0 0,-41 4-349 0 0,-19 5-1040 0 0,-105 23 828 0 0,-43 5-132 0 0,30-5-1 0 0,-56 8-91 0 0,6-2-63 0 0,-1 1-1 0 0,2 1 1 0 0,8-1-1 0 0</inkml:trace>
</inkml:ink>
</file>

<file path=ppt/ink/ink1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4 2361 0 0,'0'-14'5720'0'0,"-2"23"3395"0"0,-1 38-4079 0 0,5 23-2761 0 0,-1-12-1414 0 0,-1-7-325 0 0,5 198-1752 0 0,-4-246-1835 0 0,-1-11-1494 0 0,0 2-1897 0 0</inkml:trace>
</inkml:ink>
</file>

<file path=ppt/ink/ink1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79 1320 0 0,'-3'-1'9206'0'0,"3"1"-9071"0"0,-3 6 4653 0 0,1-2-1478 0 0,6-8 1600 0 0,14-15-2291 0 0,-2 0-2104 0 0,23-20 0 0 0,-39 39-903 0 0,7-5 1380 0 0,-4 3-2531 0 0</inkml:trace>
</inkml:ink>
</file>

<file path=ppt/ink/ink1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3 2881 0 0,'-8'-3'16861'0'0,"27"10"-14549"0"0,178 45 511 0 0,-164-43-2722 0 0,-23-5-39 0 0,1-2 1 0 0,0 1-1 0 0,-1-2 0 0 0,18 3 0 0 0,-26-4-91 0 0,18 0-2692 0 0,2 3-6444 0 0,-22-3 9093 0 0,1 0 1 0 0,-1 0-1 0 0,0 0 1 0 0,0 0 0 0 0,0 0-1 0 0,0 0 1 0 0,0 0 0 0 0,0 0-1 0 0,1 0 1 0 0,-1 0-1 0 0,0 0 1 0 0,0 0 0 0 0,0 0-1 0 0,0 0 1 0 0,0 0 0 0 0,0 0-1 0 0,1 0 1 0 0,-1 0-1 0 0,0 0 1 0 0,0 0 0 0 0,0 0-1 0 0,0 0 1 0 0,0 0 0 0 0,0 0-1 0 0,0 0 1 0 0,0 0-1 0 0,0 0 1 0 0,0-1 0 0 0,0 1-1 0 0,0 0 1 0 0,0 0 0 0 0,0 0-1 0 0,0 0 1 0 0,0 0-1 0 0,0 0 1 0 0,0 0 0 0 0,0 0-1 0 0,0 0 1 0 0,0 0 0 0 0,0 0-1 0 0,0 0 1 0 0,0 0-1 0 0,0 0 1 0 0,0 0 0 0 0,0 0-1 0 0,0-1 1 0 0,0 1 0 0 0,0 0-1 0 0,0 0 1 0 0,0 0-1 0 0,0 0 1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840 0 0,'0'0'994'0'0,"0"8"11825"0"0,0 9-6655 0 0,9 99-235 0 0,3 82-5512 0 0,-12-189-365 0 0,-3 96-93 0 0,1-51 101 0 0,6 59 0 0 0,12 92 453 0 0,-16-196-560 0 0,2 126 165 0 0,1-22-235 0 0,-1-82 146 0 0,-1-11-19 0 0,1 2-47 0 0,-2 40 0 0 0,-2-41 128 0 0,1 9 154 0 0,1-25-244 0 0,1-4 0 0 0,-1 1-1 0 0,0-1 1 0 0,0 0 0 0 0,1 0 0 0 0,-1-1-1 0 0,0 1 1 0 0,0 1 0 0 0,-1-1 0 0 0,1 0-1 0 0,0 0 1 0 0,0-1 0 0 0,0 2 0 0 0,-1-1-1 0 0,0 1 276 0 0,13 12 85 0 0,-7-11-319 0 0,0 0 1 0 0,0-2-1 0 0,0 2 0 0 0,10 2 0 0 0,3-3 103 0 0,-15-2-141 0 0,0 0 1 0 0,0 0-1 0 0,0 1 0 0 0,0-1 0 0 0,5 2 1 0 0,76 29 157 0 0,-58-26-178 0 0,-27-7-1820 0 0</inkml:trace>
</inkml:ink>
</file>

<file path=ppt/ink/ink1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0 3369 0 0,'-2'11'14588'0'0,"-1"4"-8213"0"0,1 0-7152 0 0,-1 22-1 0 0</inkml:trace>
</inkml:ink>
</file>

<file path=ppt/ink/ink1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5 34 1352 0 0,'4'-4'2073'0'0,"1"-1"-1"0"0,-1 1 1 0 0,0-1-1 0 0,-1 0 1 0 0,4-6-1 0 0,-15 23 6142 0 0,-12 9-6368 0 0,7-7-773 0 0,-9 11-256 0 0,-15 17-556 0 0,36-40-891 0 0,1-2-189 0 0</inkml:trace>
</inkml:ink>
</file>

<file path=ppt/ink/ink1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1 2361 0 0,'-3'3'10313'0'0,"3"-3"-10119"0"0,-2 11 3318 0 0,1 13-1397 0 0,4 111 2485 0 0,0 19-3050 0 0,-2-141-1533 0 0,3 138-522 0 0,-6-131-3312 0 0,2-19 2409 0 0</inkml:trace>
</inkml:ink>
</file>

<file path=ppt/ink/ink1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1352 0 0,'22'3'12246'0'0,"13"9"-8894"0"0,-6-3-1282 0 0,51 14-74 0 0,54 11 1737 0 0,-118-31-3756 0 0,-9-1-11 0 0,1-1-1 0 0,-1 1 1 0 0,0 0 0 0 0,1 0 0 0 0,6 5 0 0 0,-13-7 24 0 0,-1 0-1 0 0,0 0 1 0 0,0 0-1 0 0,0 0 1 0 0,0 0-1 0 0,0 0 1 0 0,1 0-1 0 0,-1 0 1 0 0,0 0-1 0 0,0 0 1 0 0,0 0-1 0 0,0 0 1 0 0,0 0 0 0 0,0 0-1 0 0,1 1 1 0 0,-1-1-1 0 0,0 0 1 0 0,0 0-1 0 0,0 0 1 0 0,0 0-1 0 0,0 0 1 0 0,0 0-1 0 0,0 0 1 0 0,0 0-1 0 0,0 1 1 0 0,1-1-1 0 0,-1 0 1 0 0,0 0-1 0 0,0 0 1 0 0,0 0-1 0 0,0 0 1 0 0,0 0-1 0 0,0 1 1 0 0,0-1-1 0 0,0 0 1 0 0,0 0 0 0 0,0 0-1 0 0,0 0 1 0 0,0 0-1 0 0,0 0 1 0 0,0 0-1 0 0,0 0 1 0 0,0 0-1 0 0,0 0 1 0 0,0 0-1 0 0,0 0 1 0 0,0 0-1 0 0,-1 1 1 0 0,1-1-1 0 0,0 0 1 0 0,0 0-1 0 0,0 0 1 0 0,0 0-1 0 0,0 0 1 0 0,0 1-1 0 0,-4 0-1771 0 0,1 0-3956 0 0</inkml:trace>
</inkml:ink>
</file>

<file path=ppt/ink/ink1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0 1352 0 0,'0'0'100'0'0,"0"0"-45"0"0,2-6 5045 0 0,-2 3 1117 0 0,1 9-4290 0 0,6 60 4000 0 0,-3 35-4017 0 0,-2-12-1085 0 0,-1-52-763 0 0,-2-23-37 0 0,2 0-1 0 0,4 27 1 0 0,-4-39-1451 0 0,1-6-2266 0 0,-1 0-3145 0 0</inkml:trace>
</inkml:ink>
</file>

<file path=ppt/ink/ink1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09 5617 0 0,'-2'-3'10777'0'0,"3"3"-10557"0"0,1-7 4736 0 0,11-9-3930 0 0,-6 7 484 0 0,5-12-507 0 0,6-10-313 0 0,-16 29-1111 0 0,1 0 0 0 0,-2 0 0 0 0,1-1 0 0 0,1 1 1 0 0,-1 0-1 0 0,0 0 0 0 0,1 0 0 0 0,4-3 0 0 0</inkml:trace>
</inkml:ink>
</file>

<file path=ppt/ink/ink1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0 190 1840 0 0,'-15'2'3642'0'0,"10"-2"-61"0"0,11-2 3723 0 0,94-8-3300 0 0,-89 9-3883 0 0,133-16 119 0 0,-31 2 252 0 0,-62 7-222 0 0,125-16 553 0 0,-42-2-856 0 0,17-4-1150 0 0,-99 21-520 0 0,49-6 1745 0 0,105-8 320 0 0,-155 12-672 0 0,-41 12-1900 0 0</inkml:trace>
</inkml:ink>
</file>

<file path=ppt/ink/ink1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200 888 0 0,'0'0'328'0'0,"-1"1"1"0"0,1-1-1 0 0,0 1 0 0 0,0-1 0 0 0,-1 0 1 0 0,1 1-1 0 0,-1-1 0 0 0,0 0 0 0 0,1 1 0 0 0,-1-1 1 0 0,0 0-1 0 0,1 0 0 0 0,-1 0 0 0 0,-2-1 6144 0 0,11-1-3352 0 0,41-8 3463 0 0,-1-1-4775 0 0,39-8-1253 0 0,192-25-527 0 0,-234 37 497 0 0,95-9 518 0 0,-4-2-876 0 0,-19 2-49 0 0,2-1-18 0 0,-58 8-64 0 0,-14 4-170 0 0,-25 3-32 0 0,-1-1 0 0 0,35-9-1 0 0,-40 7-1064 0 0,1-1-4224 0 0</inkml:trace>
</inkml:ink>
</file>

<file path=ppt/ink/ink1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0 3881 0 0,'-6'19'10942'0'0,"5"15"-7363"0"0,3 47 0 0 0,-1-31-2316 0 0,10 140 362 0 0,3 33-1089 0 0,1 89 369 0 0,-11-156-769 0 0,-4-152-822 0 0,0-8-1183 0 0,-2-9-4300 0 0,1 8-1463 0 0</inkml:trace>
</inkml:ink>
</file>

<file path=ppt/ink/ink1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137 888 0 0,'4'-2'6275'0'0,"7"-4"-1347"0"0,-11 6-4837 0 0,-1 0 0 0 0,1 0 0 0 0,0 0 0 0 0,0 0 0 0 0,0 0 0 0 0,0 0 0 0 0,0 0 0 0 0,0 0 0 0 0,0 0 0 0 0,0 0 0 0 0,0 0 1 0 0,0 1-1 0 0,0-1 0 0 0,0 0 0 0 0,0 0 0 0 0,0 0 0 0 0,0 0 0 0 0,0 0 0 0 0,0 0 0 0 0,0 0 0 0 0,0 0 0 0 0,0 0 0 0 0,0 0 0 0 0,0 0 1 0 0,0 1-1 0 0,0-1 0 0 0,0 0 0 0 0,0 0 0 0 0,0 0 0 0 0,0 0 0 0 0,0 0 0 0 0,0 0 0 0 0,1 0 0 0 0,-1 0 0 0 0,0 0 0 0 0,0 0 1 0 0,0 0-1 0 0,0 0 0 0 0,0 0 0 0 0,0 0 0 0 0,0 0 0 0 0,0 0 0 0 0,0 0 0 0 0,0 0 0 0 0,0 1 0 0 0,0-1 0 0 0,0 0 0 0 0,0 0 0 0 0,1 0 1 0 0,-1 0-1 0 0,0 0 0 0 0,0 0 0 0 0,0 0 0 0 0,0 0 0 0 0,0 0 0 0 0,0 0 0 0 0,0 0 0 0 0,0 0 0 0 0,0 0 0 0 0,0 0 0 0 0,0-1 0 0 0,1 1 1 0 0,-1 0-1 0 0,0 0 0 0 0,0 0 0 0 0,0 0 0 0 0,0 0 0 0 0,-4 10 2184 0 0,-5 8-1001 0 0,-6 14-94 0 0,17-43-2447 0 0,-2 8 878 0 0,0 0 1 0 0,1 0-1 0 0,-1-1 1 0 0,0 2-1 0 0,3-7 1 0 0,-1 6 695 0 0,-1 1 1 0 0,0 0 0 0 0,1 0-1 0 0,0-1 1 0 0,0 1-1 0 0,0 1 1 0 0,0-1 0 0 0,0-1-1 0 0,0 1 1 0 0,1 1 0 0 0,-1 0-1 0 0,4-3 1 0 0,5-1-236 0 0,-1 2 0 0 0,11-4 1 0 0,7-3-43 0 0,20-8-356 0 0,77-15 0 0 0,-49 13 1186 0 0,-56 16-459 0 0,0 0 0 0 0,23 0 0 0 0,5-1 100 0 0,-40 4-405 0 0,0 1 0 0 0,0-1-1 0 0,12 3 1 0 0,8-1 102 0 0,-26-1-212 0 0,0 0 1 0 0,0 0-1 0 0,0 0 1 0 0,0 0-1 0 0,0-1 1 0 0,0 0-1 0 0,0 0 1 0 0,0 0 0 0 0,0 0-1 0 0,-1 0 1 0 0,4-1-1 0 0,4-6-5315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5 16876 0 0,'3'-1'7797'0'0,"1"-2"-5797"0"0,-3 3-2056 0 0,-1 0 0 0 0,0 0 0 0 0,0 0 0 0 0,0 0 0 0 0,1 0 0 0 0,-1 0 0 0 0,0 0 1 0 0,0 0-1 0 0,0 0 0 0 0,0 0 0 0 0,0 0 0 0 0,0 0 0 0 0,0 0 0 0 0,1 0 0 0 0,-1 0 0 0 0,0 0 0 0 0,0 0 0 0 0,0 0 0 0 0,1 0 0 0 0,-1 0 0 0 0,0 1 0 0 0,0-1 0 0 0,0 0 0 0 0,1 0 0 0 0,-1 0 0 0 0,0 0 0 0 0,0 0 0 0 0,0 1 0 0 0,0-1 0 0 0,0 0 0 0 0,1 0 0 0 0,-1 0 1 0 0,0 1-1 0 0,0-1 0 0 0,0 0 0 0 0</inkml:trace>
</inkml:ink>
</file>

<file path=ppt/ink/ink1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3 888 0 0,'0'0'227'0'0,"-1"0"1"0"0,1 0-1 0 0,0-1 0 0 0,0 1 0 0 0,0 0 0 0 0,-1 0 0 0 0,1-1 1 0 0,-1 1-1 0 0,1 0 0 0 0,0 0 0 0 0,-1 0 0 0 0,1-1 0 0 0,-1 1 1 0 0,1 0-1 0 0,-1 0 0 0 0,1 0 0 0 0,-1 0 0 0 0,1 0 1 0 0,0 0-1 0 0,0 0 0 0 0,-1 0 0 0 0,-1 3 5011 0 0,10 1-1696 0 0,9 0-1748 0 0,29 6 1 0 0,9 1-399 0 0,37 11-871 0 0,-1 0-403 0 0,22 4 64 0 0,22 6 42 0 0,-113-24-813 0 0,15 4 959 0 0,54 11 0 0 0,-25-11 789 0 0,32 4-1378 0 0,-78-12 314 0 0,0 0 1 0 0,36 11-1 0 0,-53-14-650 0 0</inkml:trace>
</inkml:ink>
</file>

<file path=ppt/ink/ink1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9 2 1840 0 0,'-3'-1'10250'0'0,"-1"1"-9727"0"0,-5 4 5044 0 0,8-4-5419 0 0,1 1 0 0 0,-1-1 0 0 0,0 0 0 0 0,1 1 0 0 0,-1-1 0 0 0,1 0 0 0 0,0 1 0 0 0,-1-1 0 0 0,0 1 0 0 0,1-1 0 0 0,-1 1 0 0 0,1-1 0 0 0,-1 0 0 0 0,1 1 0 0 0,-1-1 0 0 0,1 1 0 0 0,-1-1 0 0 0,1 1 0 0 0,0 0 1 0 0,0 0-1 0 0,0-1 0 0 0,0 1 0 0 0,0 0 0 0 0,-1-1 0 0 0,1 0 0 0 0,0 1 0 0 0,0 1 0 0 0,-5 14 623 0 0,3-12-680 0 0,0-2 0 0 0,1 2-1 0 0,0-1 1 0 0,0 1-1 0 0,1 0 1 0 0,0-1 0 0 0,-1 4-1 0 0,-4 18 935 0 0,5-22-924 0 0,-1 1-1 0 0,0 0 1 0 0,0-1-1 0 0,1 1 1 0 0,0 0-1 0 0,0 4 0 0 0,2 80-9 0 0,-1-1-22 0 0,3-8-104 0 0,3 24-18 0 0,1 27-405 0 0,-2-39 100 0 0,-4-81 232 0 0,0-9-453 0 0,0-5-1591 0 0</inkml:trace>
</inkml:ink>
</file>

<file path=ppt/ink/ink1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2 3 9674 0 0,'-1'0'305'0'0,"1"0"0"0"0,0 0 0 0 0,0 0 0 0 0,0 0 0 0 0,-1 0 0 0 0,1-1 0 0 0,0 1 0 0 0,0 0 0 0 0,-1 0 0 0 0,1 0 0 0 0,0-1 0 0 0,-1 1 0 0 0,1 0 0 0 0,0 0 0 0 0,0 0 0 0 0,0 0 0 0 0,0 0 0 0 0,-1-1 0 0 0,1 1 0 0 0,0 0 0 0 0,-1 0 0 0 0,1 0 0 0 0,0 0 0 0 0,-1 0 0 0 0,1 0 0 0 0,-1 0 0 0 0,-5 9 2875 0 0,-5 23 332 0 0,10-30-3322 0 0,0 1 0 0 0,0-1 0 0 0,0 2 0 0 0,1-2-1 0 0,0 1 1 0 0,0-1 0 0 0,0 1 0 0 0,0 1 0 0 0,0-2 0 0 0,1 4 0 0 0,-1-6-180 0 0,0 0-1 0 0,0 0 1 0 0,0 0 0 0 0,0 0 0 0 0,0 1 0 0 0,0-1 0 0 0,0 0 0 0 0,0 0 0 0 0,0 0 0 0 0,0 1 0 0 0,0-1-1 0 0,1 0 1 0 0,-1 0 0 0 0,0 0 0 0 0,0 0 0 0 0,0 0 0 0 0,0 1 0 0 0,0-1 0 0 0,1 0 0 0 0,-1 0-1 0 0,0 0 1 0 0,0 0 0 0 0,0 0 0 0 0,0 0 0 0 0,1 0 0 0 0,-1 0 0 0 0,0 0 0 0 0,0 1 0 0 0,0-1-1 0 0,1 0 1 0 0,-1 0 0 0 0,0 0 0 0 0,0 0 0 0 0,0 0 0 0 0,1 0 0 0 0,-1 0 0 0 0,0 0 0 0 0,0 0-1 0 0,0-1 1 0 0,8-4 86 0 0,5-11-30 0 0,-10 12-82 0 0,-1-1 1 0 0,2-1-1 0 0,1-7 0 0 0,-4 13 8 0 0,-1-1 1 0 0,1 0-1 0 0,-1 0 1 0 0,0 0-1 0 0,1 0 1 0 0,-1 0-1 0 0,0 1 0 0 0,0-1 1 0 0,0 0-1 0 0,0 0 1 0 0,0 0-1 0 0,0-1 1 0 0,0 2-1 0 0,0-1 0 0 0,0 0 1 0 0,0 0-1 0 0,0 0 1 0 0,0 0-1 0 0,0 0 1 0 0,-1 0-1 0 0,1 1 0 0 0,-1-1 1 0 0,1 0-1 0 0,-1 0 1 0 0,1 1-1 0 0,-1-1 1 0 0,1 0-1 0 0,-1 0 0 0 0,0 1 1 0 0,1 0-1 0 0,-2-2 1 0 0,1 2 10 0 0,1-1 1 0 0,-1 1 0 0 0,0 0-1 0 0,0 0 1 0 0,0 0 0 0 0,1 0-1 0 0,0 1 1 0 0,-1-1 0 0 0,0 0-1 0 0,0 0 1 0 0,0 0 0 0 0,1 1-1 0 0,-1-1 1 0 0,0 0 0 0 0,1 1-1 0 0,0-1 1 0 0,-1 0 0 0 0,0 0-1 0 0,1 1 1 0 0,-1-1 0 0 0,0 1-1 0 0,1-1 1 0 0,-1 1 0 0 0,1 0-1 0 0,-1-1 1 0 0,1 1 0 0 0,0 0-1 0 0,-13 18-62 0 0,13-19 52 0 0,-6 13-663 0 0,3-7 7 0 0</inkml:trace>
</inkml:ink>
</file>

<file path=ppt/ink/ink1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8 23 12787 0 0,'-1'0'41'0'0,"0"0"1"0"0,1 1-1 0 0,-1-1 1 0 0,0 0-1 0 0,0 1 1 0 0,1-1 0 0 0,-1 1-1 0 0,1-1 1 0 0,0 1-1 0 0,-1-1 1 0 0,0 1-1 0 0,1-1 1 0 0,-1 0-1 0 0,1 1 1 0 0,-1-1 0 0 0,1 1-1 0 0,-1 0 1 0 0,1 0-1 0 0,-1-1 1 0 0,1 1-1 0 0,0 0 1 0 0,0 0-1 0 0,-1 1 419 0 0,1 0-1 0 0,-1 0 1 0 0,1-1-1 0 0,-1 1 1 0 0,1 0-1 0 0,-1-1 0 0 0,1 1 1 0 0,0 3-1 0 0,0-5-370 0 0,0 0 0 0 0,0 1 0 0 0,0-1 0 0 0,0 1 0 0 0,0-1 0 0 0,0 1 0 0 0,0-1 0 0 0,0 1 0 0 0,0-1 0 0 0,1 1 1 0 0,-1-1-1 0 0,0 0 0 0 0,0 0 0 0 0,0 1 0 0 0,1-1 0 0 0,-1 0 0 0 0,0 1 0 0 0,0-1 0 0 0,1 1 0 0 0,-1-1 0 0 0,0 0 0 0 0,1 1 0 0 0,-1-1 0 0 0,0 0 0 0 0,0 1 0 0 0,0-1 0 0 0,1 0 0 0 0,-1 0 0 0 0,0 1 0 0 0,1-1 0 0 0,-1 0 0 0 0,1 0 0 0 0,-1 0 0 0 0,1 0 0 0 0,-1 0 0 0 0,1 1 0 0 0,-1-1 0 0 0,1 0 0 0 0,-1 0 1 0 0,0 0-1 0 0,0 0 0 0 0,1 0 0 0 0,-1 0 0 0 0,1-1 0 0 0,-1 1 0 0 0,1 0 0 0 0,-1 0 0 0 0,0 0 0 0 0,1 0 0 0 0,-1-1 0 0 0,1 1 0 0 0,-1 0 0 0 0,1 0 0 0 0,-1-1 0 0 0,0 1 0 0 0,0 0 0 0 0,0-1 0 0 0,1 1 0 0 0,1-2 73 0 0,0 1 0 0 0,-1-1 0 0 0,1 0 0 0 0,0 0 0 0 0,0 0 0 0 0,-1-1 0 0 0,1 2 0 0 0,1-5 0 0 0,-3 6-106 0 0,1-2 0 0 0,-1 1-1 0 0,0-1 1 0 0,0 0 0 0 0,1 2 0 0 0,-1-2 0 0 0,0 0-1 0 0,0 1 1 0 0,0 0 0 0 0,0-1 0 0 0,0 0 0 0 0,0 1 0 0 0,0 0-1 0 0,-1-1 1 0 0,1 1 0 0 0,0-1 0 0 0,0 1 0 0 0,-1 0-1 0 0,1-1 1 0 0,-1 1 0 0 0,-2-2 0 0 0,3 2-23 0 0,-1 0 0 0 0,1 0-1 0 0,-1 0 1 0 0,0 1 0 0 0,0-1 0 0 0,0 0 0 0 0,1 1 0 0 0,-1 0 0 0 0,0 0-1 0 0,0-1 1 0 0,0 1 0 0 0,0-1 0 0 0,0 1 0 0 0,0 0 0 0 0,0 0 0 0 0,0-1-1 0 0,1 1 1 0 0,-1 0 0 0 0,0 0 0 0 0,-1 0 0 0 0,1 0 0 0 0,0 0 0 0 0,1 1-1 0 0,-1-1 1 0 0,0 0 0 0 0,0 0 0 0 0,0 1 0 0 0,0-1 0 0 0,0 0-1 0 0,1 1 1 0 0,-1-1 0 0 0,0 0 0 0 0,0 1 0 0 0,-1 0 0 0 0,1 0-129 0 0,0-1 0 0 0,1 1 0 0 0,-1-1 0 0 0,1 1 0 0 0,-1 0 0 0 0,0-1 0 0 0,0 0 0 0 0,1 1 0 0 0,-1 0 0 0 0,0 0 0 0 0,1-1 0 0 0,0 1 0 0 0,0 0 0 0 0,-1 0 0 0 0,1 0 0 0 0,0-1 0 0 0,-1 1 0 0 0,1 0 0 0 0,0 0 0 0 0,0 0 0 0 0,-1 0 0 0 0,1 0 0 0 0,0-1 0 0 0,0 1 0 0 0,0 0 0 0 0,1 2 1 0 0</inkml:trace>
</inkml:ink>
</file>

<file path=ppt/ink/ink1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97 4401 0 0,'2'0'7115'0'0,"1"-4"-3678"0"0,7-5-954 0 0,5-1-1259 0 0,2 1 1 0 0,0 0 0 0 0,21-6 0 0 0,-7 2-636 0 0,-14 7-144 0 0,0 0 0 0 0,1 1 0 0 0,0 2 0 0 0,35-4 0 0 0,-32 6-164 0 0,32 4 0 0 0,-23-2-165 0 0,-28-1-83 0 0,0 1 1 0 0,0-1 0 0 0,-2 0-1 0 0,2 1 1 0 0,0-1-1 0 0,0 1 1 0 0,-1 0 0 0 0,0 0-1 0 0,1-1 1 0 0,1 2 0 0 0,6 3-8035 0 0</inkml:trace>
</inkml:ink>
</file>

<file path=ppt/ink/ink1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07 3369 0 0,'2'-3'18897'0'0,"6"-7"-17855"0"0,5 0-1491 0 0,2-2 1 0 0,0 3 0 0 0,-1-1-1 0 0,2 2 1 0 0,0 0-1 0 0,0 1 1 0 0,0 1 0 0 0,1 0-1 0 0,29-6 1 0 0,-15 9 1210 0 0,45 0 0 0 0,-69 4-621 0 0,0 0-1 0 0,-1 0 0 0 0,1 0 0 0 0,11 4 0 0 0,-12-3-402 0 0,-1 0 0 0 0,1 0 0 0 0,-1-1 0 0 0,1-1 0 0 0,0 1 0 0 0,10 0 0 0 0</inkml:trace>
</inkml:ink>
</file>

<file path=ppt/ink/ink1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 4401 0 0,'6'-1'12920'0'0,"3"0"-8404"0"0,17 2-2753 0 0,-6 1-1495 0 0,40 2 1 0 0,-7-5-5742 0 0</inkml:trace>
</inkml:ink>
</file>

<file path=ppt/ink/ink1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1840 0 0,'9'0'6537'0'0,"9"6"-4815"0"0,-15-5-1412 0 0,84 20 3105 0 0,-78-20-3236 0 0,29 6 3958 0 0,66 3 0 0 0,-97-10-3657 0 0,0 1 0 0 0,0 0-1 0 0,12 4 1 0 0,-11-2-716 0 0,-2-1-1 0 0,15 1 0 0 0,-17-2-761 0 0,-2-1 0 0 0,1 0-1 0 0,0-1 1 0 0,0 1 0 0 0,0 0-1 0 0,3-2 1 0 0</inkml:trace>
</inkml:ink>
</file>

<file path=ppt/ink/ink1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8 9 1520 0 0,'0'0'304'0'0,"0"0"0"0"0,0 0 0 0 0,0 0 0 0 0,0 0-1 0 0,0-1 1 0 0,0 1 0 0 0,0 0 0 0 0,0-1-1 0 0,0 1 1 0 0,0 0 0 0 0,0 0 0 0 0,0-1 0 0 0,0 1-1 0 0,0 0 1 0 0,1-1 0 0 0,-1 1 0 0 0,0 0 0 0 0,-1-1-1 0 0,1 1 1 0 0,0 0 0 0 0,0-1 0 0 0,0 1 0 0 0,0 0-1 0 0,0 0 1 0 0,0 0 0 0 0,0 0 0 0 0,0 0 0 0 0,0-1-1 0 0,0 1 1 0 0,0 0 0 0 0,0 0 0 0 0,0-1 0 0 0,-10 0 5692 0 0,7 2-5489 0 0,1-1-1 0 0,-1 1 0 0 0,1 0 0 0 0,-1-1 0 0 0,1 1 1 0 0,-4 3-1 0 0,6-3-370 0 0,-2-1 1 0 0,1 1-1 0 0,0 0 1 0 0,-1 0-1 0 0,1 1 1 0 0,1-1-1 0 0,-2 0 0 0 0,1 0 1 0 0,0 1-1 0 0,0-1 1 0 0,0 1-1 0 0,1-1 1 0 0,0 0-1 0 0,-1 1 1 0 0,1 0-1 0 0,-1-1 0 0 0,1 1 1 0 0,-1-1-1 0 0,1 3 1 0 0,0-3-47 0 0,0 1 1 0 0,1-1-1 0 0,-1 0 1 0 0,1 0-1 0 0,-1 0 0 0 0,1 0 1 0 0,-1 0-1 0 0,0 0 1 0 0,1 0-1 0 0,-1-1 1 0 0,1 2-1 0 0,0-1 1 0 0,0-1-1 0 0,0 1 0 0 0,0 0 1 0 0,-1 0-1 0 0,1-1 1 0 0,0 1-1 0 0,0-1 1 0 0,1 1-1 0 0,-1 0 1 0 0,0-1-1 0 0,-1 1 0 0 0,1-1 1 0 0,1 0-1 0 0,-1 1 1 0 0,0-1-1 0 0,2 0 1 0 0,0 1-328 0 0,-1-1 0 0 0,1 0 1 0 0,-1 0-1 0 0,2 0 1 0 0,-1 0-1 0 0,-1 0 0 0 0,1 0 1 0 0,0 0-1 0 0,0-1 0 0 0,4-1 1 0 0,-7 2 166 0 0,1-1 1 0 0,0 1 0 0 0,0 0-1 0 0,0-1 1 0 0,0 1-1 0 0,-1-1 1 0 0,1 1 0 0 0,0 0-1 0 0,-1 0 1 0 0,1-1-1 0 0,-1 0 1 0 0,1 1 0 0 0,0-1-1 0 0,-1 0 1 0 0,1 1 0 0 0,-1-1-1 0 0,1 0 1 0 0,-1 1-1 0 0,1-1 1 0 0,-1 0 0 0 0,0 0-1 0 0,0 1 1 0 0,0-1-1 0 0,0 0 1 0 0,1 0 0 0 0,-1 1-1 0 0,0-1 1 0 0,0 0-1 0 0,0 0 1 0 0,0 0 0 0 0,0 0-1 0 0,0 0 1 0 0,0 0 0 0 0,0 1-1 0 0,-1-1 1 0 0,1 0-1 0 0,0 0 1 0 0,0 0 0 0 0,0 1-1 0 0,-1-2 1 0 0,0 0-297 0 0,0 0 0 0 0,-1 1-1 0 0,1 0 1 0 0,0-1 0 0 0,0 0 0 0 0,-1 1 0 0 0,0 0 0 0 0,1 0-1 0 0,0-1 1 0 0,-1 1 0 0 0,0 0 0 0 0,1 0 0 0 0,-1 0 0 0 0,0 1 0 0 0,0-1-1 0 0,1 0 1 0 0,-4 0 0 0 0,3 0-4927 0 0</inkml:trace>
</inkml:ink>
</file>

<file path=ppt/ink/ink1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0 16 4401 0 0,'0'0'438'0'0,"0"-1"0"0"0,0 0 0 0 0,0 1 0 0 0,0-1-1 0 0,0 1 1 0 0,0-1 0 0 0,0 0 0 0 0,0 1 0 0 0,-1-1 0 0 0,1 1 0 0 0,0-1 0 0 0,0 1 0 0 0,-1 0 0 0 0,1 0 0 0 0,0-1-1 0 0,-1 1 1 0 0,1-1 0 0 0,-1 1 0 0 0,1-1 0 0 0,0 1 0 0 0,-1-1 0 0 0,1 1 0 0 0,-1-1 0 0 0,0 1-6 0 0,-1-1 1 0 0,1 1-1 0 0,-1 0 1 0 0,2 0-1 0 0,-2-1 1 0 0,1 1-1 0 0,-1 0 1 0 0,1 0-1 0 0,-2 0 1 0 0,-2 0 137 0 0,0 0 0 0 0,-1 1 0 0 0,-7 1 1 0 0,9 0-440 0 0,1-1 1 0 0,-1 0-1 0 0,1 0 1 0 0,-1 1 0 0 0,2 0-1 0 0,-2 0 1 0 0,1 0-1 0 0,0 1 1 0 0,1-2 0 0 0,-1 2-1 0 0,1 0 1 0 0,-1-1-1 0 0,0 2 1 0 0,1-2 0 0 0,0 1-1 0 0,0 0 1 0 0,0 1-1 0 0,-3 4 1 0 0,5-6-65 0 0,0 1-1 0 0,-1-2 1 0 0,0 1 0 0 0,1 1 0 0 0,-1-2-1 0 0,1 2 1 0 0,0-1 0 0 0,0-1-1 0 0,0 2 1 0 0,0-1 0 0 0,0 0 0 0 0,1 0-1 0 0,-1 0 1 0 0,1 0 0 0 0,0 0 0 0 0,-1 0-1 0 0,0 0 1 0 0,1 0 0 0 0,0 0-1 0 0,0 0 1 0 0,1-1 0 0 0,-1 1 0 0 0,-1 0-1 0 0,2-1 1 0 0,0 1 0 0 0,-1 0 0 0 0,1-1-1 0 0,-1 0 1 0 0,1 1 0 0 0,0-1-1 0 0,-1 0 1 0 0,1 1 0 0 0,3 0 0 0 0,-2-1-54 0 0,0 1 0 0 0,1-1 0 0 0,-2 0 1 0 0,2-1-1 0 0,-1 1 0 0 0,1-1 0 0 0,-1 0 1 0 0,1 1-1 0 0,-1-1 0 0 0,1 0 0 0 0,-1-1 1 0 0,0 1-1 0 0,0-1 0 0 0,0 1 0 0 0,1 0 1 0 0,-1-2-1 0 0,1 1 0 0 0,-2 0 1 0 0,2-1-1 0 0,2-1 0 0 0,-2 1-310 0 0,0 0 1 0 0,0 0-1 0 0,-1-1 1 0 0,1 0-1 0 0,-1 0 1 0 0,1 1-1 0 0,-1-2 0 0 0,1 1 1 0 0,-2-1-1 0 0,1 1 1 0 0,0-1-1 0 0,-1 0 1 0 0,1 1-1 0 0,2-9 0 0 0,-4 12 105 0 0,-1-2 0 0 0,0 0-1 0 0,0 0 1 0 0,0 1-1 0 0,1 0 1 0 0,-1-1 0 0 0,0 0-1 0 0,0 1 1 0 0,-1-1-1 0 0,1 0 1 0 0,0 1-1 0 0,0 0 1 0 0,0-1 0 0 0,0 0-1 0 0,-1 1 1 0 0,0 0-1 0 0,0-1 1 0 0,1 1 0 0 0,-1-1-1 0 0,0 1 1 0 0,0 0-1 0 0,1-1 1 0 0,-2 1 0 0 0,0-1-1 0 0,0 0 97 0 0,-1-1 0 0 0,1 2 0 0 0,0-1 1 0 0,-1-1-1 0 0,0 2 0 0 0,0 0 0 0 0,0-1 0 0 0,1 0 0 0 0,-2 1 0 0 0,2 0 0 0 0,-5 0 0 0 0,1-1-5656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7258 0 0,'2'0'11135'0'0,"2"2"-5466"0"0,30 5-4287 0 0,-15-5-1344 0 0,14 1 43 0 0,1 0 0 0 0,38 10 0 0 0,492 105 1280 0 0,-449-94-1272 0 0,59 9 78 0 0,-36-10-63 0 0,-7-2-8 0 0,7 7-69 0 0,-37-6 6 0 0,267 57 27 0 0,-250-55-27 0 0,-3-1-2 0 0,10 2-83 0 0,-16-3 27 0 0,3-3 58 0 0,7 2-13 0 0,43 8-20 0 0,-68-15 0 0 0,-61-9 3 0 0,290 56 138 0 0,-300-56-140 0 0,203 33 62 0 0,-104-17-63 0 0,-10-2 0 0 0,3-4 0 0 0,36 3 0 0 0,-29-2 0 0 0,-6 0 0 0 0,6 4 0 0 0,-61-8 0 0 0,87 18 0 0 0,-5 0 0 0 0,48 11 0 0 0,-118-27-9 0 0,-5-2 2 0 0,-6 5 7 0 0,28 6 0 0 0,79 20 0 0 0,-137-38-17 0 0,0 1 1 0 0,33-2-1 0 0,-9-1 3 0 0,-34 2 32 0 0,-18-4-13 0 0,1-1 1 0 0,-1 1 0 0 0,0 0 0 0 0,1 0 0 0 0,0-1-1 0 0,-1 0 1 0 0,7-1 0 0 0,-8 0-2373 0 0</inkml:trace>
</inkml:ink>
</file>

<file path=ppt/ink/ink1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 5065 0 0,'10'2'13815'0'0,"7"4"-8113"0"0,-13-5-5525 0 0,-1 1 0 0 0,1 0-1 0 0,0-1 1 0 0,7 1-1 0 0,-10-2-17 0 0,28 2 585 0 0,-28-2-732 0 0,1 0-1 0 0,0 0 1 0 0,0 0-1 0 0,0 0 1 0 0,0 0-1 0 0,0-1 0 0 0,-1 1 1 0 0,1-1-1 0 0,0 0 1 0 0,0 1-1 0 0,3-2 1 0 0,0-8 256 0 0,-4 6-2307 0 0</inkml:trace>
</inkml:ink>
</file>

<file path=ppt/ink/ink1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4401 0 0,'0'3'10472'0'0,"0"3"-5122"0"0,-1 18-1033 0 0,3-10-2840 0 0,-1-6-1110 0 0,-1 0 0 0 0,0 1 1 0 0,-1 7-1 0 0,0-14-761 0 0</inkml:trace>
</inkml:ink>
</file>

<file path=ppt/ink/ink1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 1840 0 0,'-1'5'14939'0'0,"2"5"-8645"0"0,0 7-2724 0 0,-2-11-3318 0 0,1-4-206 0 0,-1 0 1 0 0,1 0-1 0 0,0 1 1 0 0,0-2-1 0 0,0 2 1 0 0,0-1-1 0 0,0 0 1 0 0,1 0-1 0 0,-1 0 1 0 0,1 0-1 0 0,0 3 1 0 0,-1-5-230 0 0</inkml:trace>
</inkml:ink>
</file>

<file path=ppt/ink/ink1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888 0 0,'16'5'13838'0'0,"7"-1"-8704"0"0,4 3-2605 0 0,87 15-86 0 0,-24-6-829 0 0,-67-11-1544 0 0,-6-1 97 0 0,25 7 1 0 0,-40-10-85 0 0,1-1 1 0 0,0 1-1 0 0,-2-1 0 0 0,2 0 0 0 0,-1 1 1 0 0,4-2-1 0 0,12 3-2012 0 0,-9 3-8023 0 0</inkml:trace>
</inkml:ink>
</file>

<file path=ppt/ink/ink1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3369 0 0,'0'28'17553'0'0,"-1"4"-10337"0"0,-1 72-9755 0 0,3-79 4705 0 0,0-5-2293 0 0,0-3-410 0 0,-1-1 0 0 0,7 31 0 0 0</inkml:trace>
</inkml:ink>
</file>

<file path=ppt/ink/ink1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7978 0 0,'0'0'595'0'0,"0"0"-405"0"0,1 6 9246 0 0,-2 10-5762 0 0,1-9-2142 0 0,9 211 1381 0 0,-6-144-2913 0 0,-1-51 0 0 0,0-5 150 0 0,-1 0 0 0 0,2-1 0 0 0,7 27 0 0 0,-5-32 30 0 0,1 0 0 0 0,0-1 0 0 0,0-1 0 0 0,1 1 0 0 0,11 12 0 0 0,-11-15-140 0 0,17 17-4050 0 0,-13-14-62 0 0</inkml:trace>
</inkml:ink>
</file>

<file path=ppt/ink/ink1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6193 0 0,'10'0'10550'0'0,"2"2"-4649"0"0,7 1-3255 0 0,9 2-3410 0 0,6 2 1654 0 0,206 27-751 0 0,-92-14-81 0 0,25 0 673 0 0,-64-7-664 0 0,32 5-24 0 0,105 13 1013 0 0,-183-24-941 0 0,12 0-423 0 0,36 4-203 0 0,-109-11 472 0 0,2 1-450 0 0,-2 0 1 0 0,2-1 0 0 0,-2 0-1 0 0,2 1 1 0 0,-1-1 0 0 0,0 0-1 0 0,0 0 1 0 0,0-1 0 0 0,5 0-1 0 0</inkml:trace>
</inkml:ink>
</file>

<file path=ppt/ink/ink1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2881 0 0,'0'3'7501'0'0,"-1"9"-3298"0"0,1-5-1968 0 0,-1 58-577 0 0,6 136 6502 0 0,-3-180-8150 0 0,0 6 57 0 0,1 1-1 0 0,1-1 0 0 0,2 0 0 0 0,10 29 0 0 0,-13-45-86 0 0,3 3 74 0 0,0 1 1 0 0,9 16-1 0 0,-12-28-17 0 0,-2 1-1 0 0,2 0 1 0 0,0 0 0 0 0,-1-2-1 0 0,2 2 1 0 0,-2-1-1 0 0,2 0 1 0 0,-1 0 0 0 0,1 0-1 0 0,-1-1 1 0 0,0 0-1 0 0,9 4 1 0 0,7-1 101 0 0,-11-6-8447 0 0</inkml:trace>
</inkml:ink>
</file>

<file path=ppt/ink/ink1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90 7258 0 0,'3'-3'8552'0'0,"3"1"-3884"0"0,13-2-1872 0 0,-14 3-1271 0 0,37-6 243 0 0,-28 5-1635 0 0,0-1 0 0 0,15-4 0 0 0,4-2 72 0 0,39-6 1 0 0,27-6-105 0 0,-91 18-74 0 0,5-1 29 0 0,21-4 0 0 0,-34 8-62 0 0,0 0 1 0 0,0 0-1 0 0,0 0 1 0 0,0 0-1 0 0,0 0 1 0 0,0 0-1 0 0,0 0 1 0 0,0 0-1 0 0,0 0 1 0 0,0 0-1 0 0,0 1 1 0 0,0-1-1 0 0,0 0 1 0 0,0 0-1 0 0,0 0 1 0 0,0 0-1 0 0,0 0 1 0 0,0 0-1 0 0,0 0 1 0 0,0 0-1 0 0,0 0 1 0 0,0 0-1 0 0,0 0 1 0 0,0 0-1 0 0,0 0 1 0 0,0 0-1 0 0,0 0 1 0 0,0 1-1 0 0,0-1 1 0 0,0 0-1 0 0,0 0 1 0 0,0 0-1 0 0,0 0 1 0 0,0 0-1 0 0,0 0 1 0 0,0 0-1 0 0,0 0 1 0 0,0 0-1 0 0,1 0 1 0 0,-1 0-1 0 0,0 0 1 0 0,0 0-1 0 0,0 0 1 0 0,0 0-1 0 0,0 0 1 0 0,0 0-1 0 0,0 0 1 0 0,0 0-1 0 0,0 0 1 0 0,0 0-1 0 0,0 0 1 0 0,0 0-1 0 0,0 0 1 0 0,0 0-1 0 0,0 0 1 0 0,1 0-1 0 0,-1 0 1 0 0,0 0-1 0 0,-4 3-2089 0 0</inkml:trace>
</inkml:ink>
</file>

<file path=ppt/ink/ink1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0 5 1352 0 0,'-1'-5'21200'0'0,"-1"8"-20683"0"0,1 0-251 0 0,1 0 1 0 0,-1 0 0 0 0,0 1-1 0 0,0-1 1 0 0,1 0-1 0 0,-1 0 1 0 0,1 0-1 0 0,0 1 1 0 0,1 3-1 0 0,-1 3 62 0 0,-2 111 625 0 0,-2 46-573 0 0,2-106-218 0 0,-1 13 31 0 0,2-71-238 0 0,1-6-324 0 0,-1-5-2755 0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109 1928 0 0,'-2'-5'14'0'0,"0"0"0"0"0,1 1 0 0 0,0-1 0 0 0,1-1 0 0 0,-1 1 0 0 0,0 1 0 0 0,1-1 0 0 0,0 0 0 0 0,1-1 0 0 0,-1 1 0 0 0,2-6 0 0 0,2-2 21 0 0,-3 11-31 0 0,0 0 0 0 0,-1 0 0 0 0,1 0 1 0 0,-1 0-1 0 0,1-1 0 0 0,-1-2 0 0 0,1 3 0 0 0,-1 1-3 0 0,0 1 0 0 0,0 0 1 0 0,1 0-1 0 0,-1 0 0 0 0,0 0 1 0 0,0-1-1 0 0,0 1 1 0 0,0 0-1 0 0,0-1 0 0 0,0 1 1 0 0,0-1-1 0 0,0 1 0 0 0,1 0 1 0 0,-1-1-1 0 0,-1 1 0 0 0,1-1 1 0 0,-2-3 8344 0 0,2 48-476 0 0,-1 0-4708 0 0,1 43-18 0 0,1-72-2406 0 0,1-10-333 0 0,0-9-150 0 0,-1-20-1173 0 0,1 2 0 0 0,-2-1 1 0 0,-2-24-1 0 0,-1-16-4648 0 0,3 64 5539 0 0,0 2 344 0 0,0 1 1 0 0,0-1 0 0 0,0 0 0 0 0,1 0 0 0 0,-1 1 0 0 0,2 5 0 0 0,1-7-1257 0 0</inkml:trace>
</inkml:ink>
</file>

<file path=ppt/ink/ink1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43 5065 0 0,'0'0'528'0'0,"0"1"80"0"0,0-1 1 0 0,0 1-1 0 0,0 0 0 0 0,0-1 0 0 0,1 1 0 0 0,-1-1 1 0 0,0 0-1 0 0,0 1 0 0 0,1-1 0 0 0,-1 1 0 0 0,0 0 1 0 0,0-1-1 0 0,1 1 0 0 0,-1-1 0 0 0,0 1 0 0 0,0-1 1 0 0,1 1-1 0 0,-1-1 0 0 0,2 0 0 0 0,11 6 4903 0 0,-9-5-4813 0 0,1 0 1 0 0,0-1-1 0 0,8 1 1 0 0,-6-2-635 0 0,1 0 0 0 0,-1 0 0 0 0,0-1 1 0 0,1 0-1 0 0,-1 0 0 0 0,0 0 1 0 0,-1-1-1 0 0,0 0 0 0 0,9-5 1 0 0,5-5 274 0 0,27-23 1 0 0,-35 26-318 0 0,-10 9-229 0 0,0-1 0 0 0,0-1 1 0 0,0 1-1 0 0,0 0 0 0 0,0 0 1 0 0,-1-1-1 0 0,1 0 0 0 0,0 1 1 0 0,-1-1-1 0 0,0 1 0 0 0,1-5 1 0 0,0-1-1027 0 0,0 0 0 0 0,2-15 0 0 0,-4 16-1302 0 0</inkml:trace>
</inkml:ink>
</file>

<file path=ppt/ink/ink1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4 4 1840 0 0,'-13'-1'4358'0'0,"12"0"-3708"0"0,0 1-1 0 0,0-1 0 0 0,0 1 0 0 0,-1 0 0 0 0,1 0 0 0 0,0 0 0 0 0,0 0 0 0 0,-1 0 0 0 0,1 0 1 0 0,-1 0-1 0 0,2 0 0 0 0,-1 1 0 0 0,-4 0 0 0 0,0 0 779 0 0,0 2 3409 0 0,12-2-1798 0 0,-4-1-3042 0 0,44 6 880 0 0,-32-3-863 0 0,25 1 0 0 0,-12-2 100 0 0,51 11 0 0 0,-9-1 36 0 0,212 16 138 0 0,-224-23-204 0 0,155 18 536 0 0,60 3-620 0 0,-143-10 86 0 0,-71-8-30 0 0,-59-8-53 0 0,138 15 182 0 0,-99-11-819 0 0,-23-1-2913 0 0,19 0 0 0 0,-32-3 3607 0 0</inkml:trace>
</inkml:ink>
</file>

<file path=ppt/ink/ink1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06 4401 0 0,'2'-1'8773'0'0,"5"-1"-5633"0"0,10-4-2208 0 0,119-7-207 0 0,-14 3 92 0 0,39-4-1112 0 0,-43 5-191 0 0,130-15-669 0 0,-72 13 815 0 0,-120 7 829 0 0,31 1 2 0 0,43-3 813 0 0,-37 3-1124 0 0,-92 3-1327 0 0</inkml:trace>
</inkml:ink>
</file>

<file path=ppt/ink/ink1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3 17 2881 0 0,'-1'0'298'0'0,"0"0"0"0"0,1 0 0 0 0,-1 0 0 0 0,0 0 0 0 0,1 0 0 0 0,0 0 0 0 0,-1 0 1 0 0,0 0-1 0 0,1 1 0 0 0,-1-1 0 0 0,0 0 0 0 0,1 0 0 0 0,-1 1 0 0 0,0-1 0 0 0,1 0 0 0 0,0 1 1 0 0,0-1-1 0 0,-1 1 0 0 0,1-1 0 0 0,-2 1 0 0 0,4 3 4705 0 0,5-1-2305 0 0,13-2-2237 0 0,0 0 0 0 0,0-1-1 0 0,-1-1 1 0 0,23-3 0 0 0,-19 1-47 0 0,1 2 0 0 0,33 0 0 0 0,-30 2-225 0 0,34-3-1 0 0,-14 0 180 0 0,99-6 144 0 0,2 6 749 0 0,-103 2-1066 0 0,-45 0-195 0 0,177-5 1232 0 0,-24 3-1469 0 0,-47 3 34 0 0,27 0 203 0 0,-63 0-3459 0 0</inkml:trace>
</inkml:ink>
</file>

<file path=ppt/ink/ink1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1352 0 0,'1'57'12517'0'0,"-1"-1"-8897"0"0,0 57-3121 0 0,0-12-1712 0 0,1 50-6148 0 0,-1-1 4560 0 0,0-49 9704 0 0,0-89-6405 0 0,0-9-539 0 0,1 0 0 0 0,-1 0-1 0 0,0 0 1 0 0,0 1-1 0 0,0-1 1 0 0,-1 0-1 0 0,1 0 1 0 0,0 0 0 0 0,-3 6-1 0 0</inkml:trace>
</inkml:ink>
</file>

<file path=ppt/ink/ink1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8 5617 0 0,'0'0'193'0'0,"0"-1"0"0"0,0 1 0 0 0,0 0 0 0 0,0-1 0 0 0,0 1 0 0 0,0-1 0 0 0,0 1 0 0 0,0 0 0 0 0,1-1 0 0 0,-1 1 0 0 0,0 0 0 0 0,0-1 0 0 0,0 1 0 0 0,1 0 0 0 0,-1 0 0 0 0,0 0 0 0 0,1 0 0 0 0,-1-1 0 0 0,0 1 0 0 0,0 0 0 0 0,0 0 0 0 0,0-1 0 0 0,1 1 0 0 0,-1 0 0 0 0,0 0 0 0 0,1 0 0 0 0,-1 0 0 0 0,0-1 0 0 0,1 1 0 0 0,-1 0 0 0 0,1 0 0 0 0,-1 0 0 0 0,1 0 0 0 0,-1 0 0 0 0,0 0 0 0 0,1 0 0 0 0,-1 0 0 0 0,0 0 0 0 0,0 0 0 0 0,0 0 0 0 0,1 0 0 0 0,-1 1 0 0 0,1-1 0 0 0,-1 0 0 0 0,0 0 0 0 0,1 1 0 0 0,9 2-932 0 0,-4 2-4124 0 0</inkml:trace>
</inkml:ink>
</file>

<file path=ppt/ink/ink1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2 1 1352 0 0,'0'0'100'0'0,"1"10"12751"0"0,1 1-8554 0 0,2 8-2605 0 0,-4 125-608 0 0,-2-58-1640 0 0,-7 64 1418 0 0,2 35 88 0 0,12-90 367 0 0,-4-79-1264 0 0,-1-12-40 0 0,0-1 1 0 0,1 1-1 0 0,-1-1 0 0 0,0 2 0 0 0,-1-2 0 0 0,1 0 1 0 0,-1 8-1 0 0,-1-9 134 0 0,0 0 0 0 0,1 1 0 0 0,-2-2 0 0 0,1 2 0 0 0,0-1 0 0 0,0-1 0 0 0,-1 1 0 0 0,1 0 0 0 0,0 0 0 0 0,-5 1 0 0 0,-11-2-3200 0 0</inkml:trace>
</inkml:ink>
</file>

<file path=ppt/ink/ink1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9 21 1840 0 0,'-3'-17'14641'0'0,"3"17"-14197"0"0,-1 0-1 0 0,0-1 1 0 0,0 1 0 0 0,1 0 0 0 0,-1-1 0 0 0,1 1-1 0 0,-1 0 1 0 0,0-1 0 0 0,0 1 0 0 0,0 0 0 0 0,0 0-1 0 0,1 0 1 0 0,-1 0 0 0 0,0 0 0 0 0,1 0 0 0 0,-1 0-1 0 0,-2 0 1 0 0,2 1-119 0 0,-2 0-1 0 0,1-1 0 0 0,0 1 1 0 0,0-1-1 0 0,0 2 1 0 0,-3 1-1 0 0,2-1-296 0 0,-1 1 0 0 0,1 0 0 0 0,-1 0 0 0 0,1 0-1 0 0,-6 7 1 0 0,7-7-9 0 0,0 2-1 0 0,-1-1 0 0 0,2-1 1 0 0,-1 2-1 0 0,0-1 1 0 0,1 1-1 0 0,0 0 1 0 0,0-1-1 0 0,0 0 1 0 0,0 1-1 0 0,1 0 1 0 0,0-1-1 0 0,0 1 1 0 0,1 5-1 0 0,-1-8-14 0 0,0 1 0 0 0,1-2 1 0 0,-1 2-1 0 0,1-1 0 0 0,-1 0 0 0 0,0 0 0 0 0,1 0 0 0 0,0 0 1 0 0,0-1-1 0 0,0 1 0 0 0,1 0 0 0 0,-2-1 0 0 0,2 1 0 0 0,-1 0 1 0 0,1 0-1 0 0,0-1 0 0 0,-2 1 0 0 0,2-1 0 0 0,0 1 0 0 0,0-1 1 0 0,-1-1-1 0 0,1 2 0 0 0,0-1 0 0 0,0 0 0 0 0,0 0 0 0 0,0 0 1 0 0,0-1-1 0 0,0 0 0 0 0,0 0 0 0 0,0 1 0 0 0,0-1 0 0 0,1 0 1 0 0,1 1-1 0 0,12-4-972 0 0,-9 0-6267 0 0,-2 1-990 0 0</inkml:trace>
</inkml:ink>
</file>

<file path=ppt/ink/ink1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3 1 1840 0 0,'1'0'9754'0'0,"4"1"-2921"0"0,8 6-1703 0 0,-10-5-4995 0 0,0 1 0 0 0,-1 0 1 0 0,1-1-1 0 0,-1 2 0 0 0,0-2 0 0 0,1 2 0 0 0,-2-1 1 0 0,1 0-1 0 0,0 0 0 0 0,0 1 0 0 0,-2 0 0 0 0,2-1 1 0 0,-1 1-1 0 0,0-1 0 0 0,0 1 0 0 0,-1 0 0 0 0,1-1 1 0 0,-1 7-1 0 0,0-8-116 0 0,0 1 0 0 0,0 0 0 0 0,0-1 0 0 0,-1 1 0 0 0,1-1 0 0 0,-1 1 0 0 0,0 0 0 0 0,1-1 0 0 0,-1 1 0 0 0,-1-1 0 0 0,2 1 0 0 0,-1-1 0 0 0,-1 0 0 0 0,1 1 0 0 0,-1-1 0 0 0,1 0 0 0 0,-1 0 0 0 0,0 0 0 0 0,0 0 0 0 0,1 0 0 0 0,-2 0 0 0 0,1-1 0 0 0,1 1 0 0 0,-2-1 0 0 0,1 1 0 0 0,0-2 0 0 0,-3 3 0 0 0,2-2 26 0 0,1-1 1 0 0,0 1 0 0 0,0-1-1 0 0,-1 0 1 0 0,1 0-1 0 0,0 0 1 0 0,0 0 0 0 0,-4-1-1 0 0,-4 1-3631 0 0</inkml:trace>
</inkml:ink>
</file>

<file path=ppt/ink/ink1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2 0 5065 0 0,'-12'3'20029'0'0,"19"-1"-19430"0"0,9-2-1208 0 0,-12 0-342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59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0 432 0 0,'-1'-9'19468'0'0,"3"14"-19790"0"0,1 6 1216 0 0,1 1 0 0 0,2 17 1 0 0,-4-17-874 0 0,1 0 0 0 0,5 14 1 0 0,-5-16 10 0 0,4 22 0 0 0,2 3 753 0 0,5 28 85 0 0,-3-9-261 0 0,5-1-417 0 0,-12-38 80 0 0,3 17-1 0 0,1 1 50 0 0,17 56-192 0 0,-24-84-161 0 0,0-2 0 0 0,-1 1 0 0 0,0 1-1 0 0,1 5 1 0 0,-2-12-2144 0 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0 1920 0 0,'3'-1'14183'0'0,"5"1"-7248"0"0,5-2-4817 0 0,9 0-3812 0 0,-11 1 3315 0 0,18 0-1106 0 0,-16 0-301 0 0,0 0 0 0 0,-1-1 0 0 0,17-3 0 0 0,-25 4-200 0 0,-1 0 0 0 0,2 0 0 0 0,-2 1 0 0 0,1-1 1 0 0,5 2-1 0 0,-2-1-11 0 0,-7 0-12 0 0,0-1-1 0 0,1 1 1 0 0,-1 0 0 0 0,0 0 0 0 0,0 0 0 0 0,0 0 0 0 0,0 0 0 0 0,1 0 0 0 0,-1 0 0 0 0,0 0-1 0 0,0 0 1 0 0,0 0 0 0 0,0 0 0 0 0,0 0 0 0 0,0 0 0 0 0,0 0 0 0 0,1 0 0 0 0,-1 0 0 0 0,0 0-1 0 0,0-1 1 0 0,0 1 0 0 0,0 0 0 0 0,0 0 0 0 0,0 0 0 0 0,0 0 0 0 0,0-1 0 0 0,0 1 0 0 0,0 0-1 0 0,0 0 1 0 0,0 0 0 0 0,0 0 0 0 0,0-1 0 0 0,0 1 0 0 0,0 0 0 0 0,0 0 0 0 0,0 0 0 0 0,0 0-1 0 0,0-1 1 0 0,0 1 0 0 0,0 0 0 0 0,0 0 0 0 0,0 0 0 0 0,-1 0 0 0 0,1-1 0 0 0,0 1 0 0 0,0 0-1 0 0,0 0 1 0 0,0 0 0 0 0,0 0 0 0 0,0 0 0 0 0,0 0 0 0 0,-1 0 0 0 0,1-1 0 0 0,0 1 0 0 0,0 0-1 0 0,0 0 1 0 0,-1 0-123 0 0,-1-3-505 0 0</inkml:trace>
</inkml:ink>
</file>

<file path=ppt/ink/ink2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14027 0 0,'4'0'8037'0'0,"2"-1"-5897"0"0,3 1-4787 0 0,5-1-5422 0 0,-12 0 7160 0 0</inkml:trace>
</inkml:ink>
</file>

<file path=ppt/ink/ink2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1 35 4281 0 0,'0'0'354'0'0,"0"-1"-1"0"0,0 1 1 0 0,0 0-1 0 0,0-1 1 0 0,1 1 0 0 0,-1-1-1 0 0,0 0 1 0 0,0 1 0 0 0,0-1-1 0 0,0 0 1 0 0,0 1 0 0 0,0-1-1 0 0,-1 1 1 0 0,1 0-1 0 0,0-1 1 0 0,0 1 0 0 0,0-1-1 0 0,-1 1 1 0 0,1-1 0 0 0,0 1-1 0 0,0-1 1 0 0,-1 1-1 0 0,1-1 1 0 0,-1 0 0 0 0,0 1 224 0 0,0-1 0 0 0,1 0 0 0 0,-2 0 0 0 0,1 1 0 0 0,0-1 0 0 0,0 1 0 0 0,0-1 0 0 0,0 1 0 0 0,0-1 0 0 0,0 1 0 0 0,-2 0 0 0 0,-14 0 3704 0 0,4 3-3407 0 0,11 0-735 0 0,-1-2 1 0 0,1 2-1 0 0,1-1 1 0 0,-1 1-1 0 0,0 0 0 0 0,0-1 1 0 0,1 1-1 0 0,-1 0 1 0 0,1 0-1 0 0,0-1 1 0 0,-1 2-1 0 0,2-2 1 0 0,-2 8-1 0 0,2-8-174 0 0,0 0 0 0 0,-1 1 0 0 0,1-1 0 0 0,0 0 0 0 0,0 1 0 0 0,1-1 0 0 0,-1 1 0 0 0,2 3-1 0 0,-2-4 18 0 0,0-1-1 0 0,0-1 1 0 0,0 1-1 0 0,1 0 1 0 0,0 0-1 0 0,-1 0 1 0 0,1 0-1 0 0,0 0 0 0 0,-1-1 1 0 0,1 1-1 0 0,0 0 1 0 0,-1-1-1 0 0,1 1 1 0 0,0 0-1 0 0,0 0 0 0 0,0-1 1 0 0,0 1-1 0 0,0-1 1 0 0,0 0-1 0 0,0 1 1 0 0,1-1-41 0 0,0 1 1 0 0,-1-1 0 0 0,1 0 0 0 0,0 0 0 0 0,0 1-1 0 0,-1-1 1 0 0,0-1 0 0 0,1 1 0 0 0,0 0-1 0 0,-1 0 1 0 0,1-1 0 0 0,0 1 0 0 0,0-1 0 0 0,-2 1-1 0 0,2 0 1 0 0,0-1 0 0 0,0 0 0 0 0,-2 0 0 0 0,2 0-1 0 0,-1 0 1 0 0,1 0 0 0 0,-1 1 0 0 0,0-2-1 0 0,0 1 1 0 0,0 0 0 0 0,1-1 0 0 0,-1 2 0 0 0,-1-2-1 0 0,1 1 1 0 0,0-1 0 0 0,0-1 0 0 0,1 0 22 0 0,0 0 1 0 0,-1 0-1 0 0,1 0 1 0 0,-1-1-1 0 0,0 1 1 0 0,0-1-1 0 0,-1 1 1 0 0,1 0-1 0 0,-1 0 1 0 0,1-1-1 0 0,-1 0 1 0 0,0 1-1 0 0,-1-6 1 0 0,0 6 75 0 0,1-1-1 0 0,-1 1 1 0 0,-1-1 0 0 0,1 2 0 0 0,-2-5 0 0 0,3 7-123 0 0,-1-1 1 0 0,1 1 0 0 0,0-1 0 0 0,0 1 0 0 0,0-1 0 0 0,-1 1-1 0 0,1-1 1 0 0,0 1 0 0 0,-1 0 0 0 0,1-1 0 0 0,0 1 0 0 0,-1 0-1 0 0,1 0 1 0 0,-1 0 0 0 0,1-1 0 0 0,-1 1 0 0 0,1 0 0 0 0,0 0-1 0 0,0-1 1 0 0,0 1 0 0 0,-1 0 0 0 0,1 0 0 0 0,-1 0 0 0 0,1 0-1 0 0,-1-1 1 0 0,0 1 0 0 0,1 0 0 0 0,-1 0 0 0 0,1 0-1 0 0,-1 0 1 0 0,1 0 0 0 0,0 0 0 0 0,0 0 0 0 0,-1 1 0 0 0,1-1-1 0 0,-1 0 1 0 0,1 0 0 0 0,-1 0 0 0 0,1 0 0 0 0,-1 1 0 0 0,1-1-1 0 0,-1 0 1 0 0,1 1 0 0 0,-1-1 0 0 0,1 0 0 0 0,0 0 0 0 0,0 1-1 0 0</inkml:trace>
</inkml:ink>
</file>

<file path=ppt/ink/ink2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4 9 3337 0 0,'-2'-1'677'0'0,"1"0"0"0"0,0 0 1 0 0,-1 0-1 0 0,1 0 0 0 0,-1 1 1 0 0,1 0-1 0 0,0-1 0 0 0,-1 0 1 0 0,0 1-1 0 0,1 0 0 0 0,0-1 1 0 0,-1 1-1 0 0,0 0 0 0 0,1 0 1 0 0,-1 0-1 0 0,0 0 0 0 0,1 0 1 0 0,-1 0-1 0 0,1 1 0 0 0,-1-1 0 0 0,0 1 1 0 0,1-1-1 0 0,0 1 0 0 0,-1-1 1 0 0,1 0-1 0 0,-3 3 0 0 0,2-1-291 0 0,0-1 0 0 0,1 0-1 0 0,-1 1 1 0 0,0 0-1 0 0,1 0 1 0 0,0 0 0 0 0,-2 2-1 0 0,2-2-347 0 0,0 0 0 0 0,0-1 0 0 0,1 0 0 0 0,0 1 0 0 0,-1 0 0 0 0,0 0-1 0 0,1-2 1 0 0,0 2 0 0 0,-1 0 0 0 0,1 0 0 0 0,0-1 0 0 0,0 1 0 0 0,0 0 0 0 0,0 0-1 0 0,0-1 1 0 0,1 1 0 0 0,-1-1 0 0 0,0 1 0 0 0,1-1 0 0 0,0 1 0 0 0,-1 0 0 0 0,0-1-1 0 0,1 0 1 0 0,0 1 0 0 0,0 0 0 0 0,0-1 0 0 0,0 0 0 0 0,0 0 0 0 0,-1 1 0 0 0,2-1-1 0 0,-1 0 1 0 0,1 0 0 0 0,-1 0 0 0 0,0 0 0 0 0,0 0 0 0 0,1 0 0 0 0,0 0 0 0 0,-1 0-1 0 0,0-1 1 0 0,1 0 0 0 0,0 1 0 0 0,-1-1 0 0 0,0 1 0 0 0,1-1 0 0 0,0 1 0 0 0,-1-1-1 0 0,1 0 1 0 0,0 0 0 0 0,0 0 0 0 0,-1 0 0 0 0,1 0 0 0 0,0-1 0 0 0,-1 1 0 0 0,0 0-1 0 0,1-1 1 0 0,0 0 0 0 0,0 1 0 0 0,-2 0 0 0 0,4-2 0 0 0,-2 1-49 0 0,1-1 1 0 0,0 1-1 0 0,-1 0 1 0 0,1-1-1 0 0,-1 0 0 0 0,0 1 1 0 0,1-2-1 0 0,-2 1 1 0 0,1 0-1 0 0,1 0 1 0 0,-2-1-1 0 0,1 2 1 0 0,2-6-1 0 0,-3 6 7 0 0,-1-1 0 0 0,0 1 0 0 0,0 0 0 0 0,1 0 0 0 0,-1 0 0 0 0,0-1 0 0 0,0 1 0 0 0,0-1 0 0 0,0 2 0 0 0,0-1 0 0 0,0-1 0 0 0,0 1 0 0 0,0-1 0 0 0,-1 2 0 0 0,1-2 0 0 0,0 1 0 0 0,0 0 0 0 0,-1-1 0 0 0,1 2 0 0 0,-1-1 0 0 0,0 0 0 0 0,1-1 0 0 0,-1 1 0 0 0,0 0 0 0 0,0 1 0 0 0,0-1 0 0 0,1 0 0 0 0,-1 0 0 0 0,0 0 0 0 0,0 0 0 0 0,-1 0 0 0 0,1 1 0 0 0,1-1 0 0 0,-3 1 0 0 0,1-2-3 0 0,1 1 1 0 0,-1 0 0 0 0,-1 0 0 0 0,2 0 0 0 0,-2 1-1 0 0,1-1 1 0 0,0 0 0 0 0,0 1 0 0 0,-1 0-1 0 0,2-1 1 0 0,-5 1 0 0 0,-15 3-2847 0 0,14-2-5726 0 0</inkml:trace>
</inkml:ink>
</file>

<file path=ppt/ink/ink2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0 13395 0 0,'6'-2'9359'0'0,"8"-2"-8821"0"0,0 2-3822 0 0,-12 1 3248 0 0</inkml:trace>
</inkml:ink>
</file>

<file path=ppt/ink/ink2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3 13 5617 0 0,'0'-1'346'0'0,"0"1"-1"0"0,0-1 0 0 0,0 0 1 0 0,0 1-1 0 0,0-1 0 0 0,-1 1 1 0 0,1 0-1 0 0,0-1 0 0 0,-1 1 1 0 0,1-1-1 0 0,0 1 0 0 0,-1-1 1 0 0,1 1-1 0 0,-1-1 0 0 0,1 1 1 0 0,0-1-1 0 0,-1 1 0 0 0,0-1 1 0 0,1 1-1 0 0,0 0 0 0 0,0 0 1 0 0,-1 0-1 0 0,1-1 0 0 0,-1 1 1 0 0,0 0-1 0 0,1 0 0 0 0,-1 0 1 0 0,0-1-1 0 0,1 1 0 0 0,-1 0 1 0 0,0 0-1 0 0,0 0 213 0 0,-1-1 0 0 0,0 1 0 0 0,1 0 1 0 0,0 0-1 0 0,-1 0 0 0 0,0 0 0 0 0,1 1 0 0 0,-1-1 0 0 0,0 0 0 0 0,0 1 1 0 0,-2 0-290 0 0,1 1 0 0 0,0 1 1 0 0,0-2-1 0 0,1 1 0 0 0,-1 1 1 0 0,1-1-1 0 0,0 1 1 0 0,-1 0-1 0 0,1-1 0 0 0,0 1 1 0 0,0 0-1 0 0,1 0 0 0 0,-4 5 1 0 0,4-7-243 0 0,1 0-1 0 0,0 1 1 0 0,-1-1 0 0 0,1 0-1 0 0,-1 0 1 0 0,1 0 0 0 0,0 1 0 0 0,-1-1-1 0 0,1 0 1 0 0,0 0 0 0 0,0 1-1 0 0,0-1 1 0 0,0 1 0 0 0,0-2-1 0 0,0 2 1 0 0,0-1 0 0 0,1 1 0 0 0,-1-1-1 0 0,0 0 1 0 0,1 0 0 0 0,0 0-1 0 0,-1 1 1 0 0,0-1 0 0 0,1 0 0 0 0,-1 0-1 0 0,1 0 1 0 0,0 0 0 0 0,0 0-1 0 0,0 0 1 0 0,0 0 0 0 0,-1-1 0 0 0,1 1-1 0 0,0 0 1 0 0,1 0 0 0 0,-1 0-1 0 0,0 0 1 0 0,0-1 0 0 0,0 1 0 0 0,2-1-1 0 0,-1 1-19 0 0,1 0 0 0 0,0-1 0 0 0,-1 0 0 0 0,2 1 0 0 0,-2-1-1 0 0,1 0 1 0 0,-1-1 0 0 0,2 1 0 0 0,-2 0 0 0 0,1-1 0 0 0,0 0 0 0 0,-1 1-1 0 0,1-1 1 0 0,-1 0 0 0 0,1 0 0 0 0,0-1 0 0 0,-1 1 0 0 0,3-2 0 0 0,-1 1-79 0 0,-2 1 1 0 0,1-2 0 0 0,-1 1 0 0 0,1 1-1 0 0,0-2 1 0 0,-2 0 0 0 0,2 2 0 0 0,-1-2-1 0 0,0 0 1 0 0,0 1 0 0 0,0-2 0 0 0,-1 2-1 0 0,1-1 1 0 0,-1 0 0 0 0,2-5 0 0 0,-3 7 68 0 0,0 0 0 0 0,0 0 0 0 0,0 1 0 0 0,0-2 0 0 0,0 1 0 0 0,0 0 0 0 0,0 0 0 0 0,-1 0 0 0 0,1 0 0 0 0,-1 0 0 0 0,1 0 0 0 0,-1 0 0 0 0,1 0 0 0 0,-1 0 0 0 0,1 1 0 0 0,-1-1 0 0 0,0 0 0 0 0,1 0 0 0 0,-1 0 0 0 0,1 0 0 0 0,-1 1 0 0 0,0-1 0 0 0,0 0 0 0 0,0 1 0 0 0,0 0 0 0 0,1-1 0 0 0,-1 1 0 0 0,-1-1 0 0 0,1 1 0 0 0,0-1 0 0 0,0 1 0 0 0,0 0 0 0 0,-1-1-147 0 0,0 0-1 0 0,0 1 0 0 0,1-1 0 0 0,-1 1 1 0 0,0 0-1 0 0,1 0 0 0 0,-2 0 1 0 0,1 0-1 0 0,1 0 0 0 0,-1 0 0 0 0,0 0 1 0 0,0 0-1 0 0,1 0 0 0 0,-1 1 1 0 0,0-1-1 0 0,0 1 0 0 0,1 0 0 0 0,-3 1 1 0 0</inkml:trace>
</inkml:ink>
</file>

<file path=ppt/ink/ink2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1 1352 0 0,'0'-2'3786'0'0,"2"-7"12357"0"0,0 15-14319 0 0,-1 0-1654 0 0,0-1 0 0 0,0 1-1 0 0,-1-1 1 0 0,1 1 0 0 0,-1 1 0 0 0,-1-2-1 0 0,1 1 1 0 0,-3 7 0 0 0,1 6-2586 0 0,1-1-4006 0 0,2-14-379 0 0</inkml:trace>
</inkml:ink>
</file>

<file path=ppt/ink/ink2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38 3369 0 0,'1'-19'4049'0'0,"-1"0"1365"0"0,-2 173 6503 0 0,2-153-11934 0 0,0 14-4053 0 0,1-7 1226 0 0,-1-8 2803 0 0,0 0 0 0 0,0 0 1 0 0,1 0-1 0 0,-1 0 1 0 0,0 0-1 0 0,0 0 0 0 0,0 0 1 0 0,0 0-1 0 0,0 0 1 0 0,0 0-1 0 0,0 1 0 0 0,0-1 1 0 0,0 0-1 0 0,0 0 1 0 0,0 0-1 0 0,0 0 0 0 0,0 0 1 0 0,0 0-1 0 0,0 0 1 0 0,1 0-1 0 0,-1 0 1 0 0,0 0-1 0 0,0 0 0 0 0,0 0 1 0 0,0 1-1 0 0,0-1 1 0 0,0 0-1 0 0,0 0 0 0 0,0 0 1 0 0,0 0-1 0 0,0 0 1 0 0,0 0-1 0 0,0 0 0 0 0,0 0 1 0 0,0 0-1 0 0,0 0 1 0 0,0 0-1 0 0,0 0 0 0 0,1 0 1 0 0,-1 0-1 0 0,0 0 1 0 0,0 0-1 0 0,0-1 0 0 0,5-3-3837 0 0,-5 1 3744 0 0</inkml:trace>
</inkml:ink>
</file>

<file path=ppt/ink/ink2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2 16 1840 0 0,'0'0'430'0'0,"0"-1"0"0"0,0 0 0 0 0,-1 0 0 0 0,1 0 0 0 0,0 0 0 0 0,0 1 0 0 0,0-1 0 0 0,-1 0 0 0 0,1 1 0 0 0,-1 0 0 0 0,1-1-1 0 0,-1 0 1 0 0,0 1 0 0 0,1-1 0 0 0,-1 0 0 0 0,0 1 0 0 0,0-1 0 0 0,1 1 0 0 0,0-1 0 0 0,-1 1 0 0 0,0 0 0 0 0,1 0 0 0 0,-1 0 0 0 0,0 0 0 0 0,-1-1-1 0 0,1 1-7 0 0,-1 0-1 0 0,0 0 0 0 0,1 1 0 0 0,0-1 0 0 0,-1 0 0 0 0,1 0 0 0 0,-1 0 0 0 0,1 1 0 0 0,0-1 0 0 0,-1 1 0 0 0,0 0 1 0 0,0 1-1 0 0,-3 0 20 0 0,0 2 0 0 0,1-1 0 0 0,0 1 0 0 0,-1-1 0 0 0,2 1 0 0 0,-6 5 1 0 0,7-5-209 0 0,-1 1 1 0 0,1-1 0 0 0,-1 1 0 0 0,0-1-1 0 0,2 1 1 0 0,-1 0 0 0 0,0 0-1 0 0,0-1 1 0 0,2 2 0 0 0,-2 7 0 0 0,1-12-184 0 0,1 1 1 0 0,0 0-1 0 0,0-1 1 0 0,0 1-1 0 0,0-1 0 0 0,1 1 1 0 0,-1-1-1 0 0,0 1 1 0 0,1 0-1 0 0,-1-1 1 0 0,1 1-1 0 0,-1-1 1 0 0,1 1-1 0 0,-1-1 1 0 0,1 1-1 0 0,0-2 1 0 0,0 2-1 0 0,1-1 1 0 0,-2 1-1 0 0,1-1 1 0 0,0-1-1 0 0,1 2 1 0 0,-1-1-1 0 0,1 0 0 0 0,-2 0 1 0 0,2 0-1 0 0,-1-1 1 0 0,1 1-1 0 0,-1 0 1 0 0,0-1-1 0 0,1 1 1 0 0,0 0-1 0 0,-1-1 1 0 0,0 0-1 0 0,1 1 1 0 0,0-1-1 0 0,1 0 1 0 0,3 0-24 0 0,0 0 1 0 0,-1 0-1 0 0,1-1 1 0 0,0 0-1 0 0,0 0 1 0 0,0 0-1 0 0,-1 0 1 0 0,0-1-1 0 0,1 0 1 0 0,-1 0-1 0 0,0-1 1 0 0,1 0-1 0 0,-1 1 1 0 0,-1-2-1 0 0,1 1 1 0 0,0-1-1 0 0,-1 1 1 0 0,5-6-1 0 0,-9 8-67 0 0,2-2-1 0 0,-1 1 1 0 0,0 0-1 0 0,0 0 0 0 0,0-1 1 0 0,-1 1-1 0 0,1 0 0 0 0,0 0 1 0 0,-1-1-1 0 0,0 0 1 0 0,1 2-1 0 0,-1-2 0 0 0,0 1 1 0 0,0-1-1 0 0,-1 0 1 0 0,1 1-1 0 0,0 0 0 0 0,-1-1 1 0 0,0 1-1 0 0,1 0 1 0 0,-1 0-1 0 0,0-1 0 0 0,-3-3 1 0 0,4 3-103 0 0,-1 1 0 0 0,-1-1 0 0 0,1 1 0 0 0,-1 0 0 0 0,1-1 0 0 0,-1 2 0 0 0,0-1 0 0 0,0-1 0 0 0,0 2 0 0 0,0-1 0 0 0,0 0 0 0 0,0 0 0 0 0,-1 1 0 0 0,1 0 0 0 0,0-1 0 0 0,-1 1 0 0 0,1-1 0 0 0,-1 2 0 0 0,1-1 0 0 0,-6-1 1 0 0,5 2-425 0 0,1 0 1 0 0,-1 0-1 0 0,0 1 1 0 0,1-1 0 0 0,-6 2-1 0 0,1-1-6447 0 0</inkml:trace>
</inkml:ink>
</file>

<file path=ppt/ink/ink2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 5617 0 0,'8'-2'10332'0'0,"11"5"-7298"0"0,-11-3-1341 0 0,73 6 2341 0 0,42-2-3040 0 0,-67-2-991 0 0,19-1-16 0 0,65 5 12 0 0,47-5 104 0 0,-68-1-29 0 0,107 1-13 0 0,-76 5-32 0 0,-94-5-50 0 0,-34-1 18 0 0,36 3 1 0 0,-19-1-3295 0 0,-38-2 2433 0 0</inkml:trace>
</inkml:ink>
</file>

<file path=ppt/ink/ink2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3 1352 0 0,'-4'-3'9058'0'0,"3"7"-5517"0"0,0 0-3105 0 0,-2 29 7175 0 0,3 17-5002 0 0,0-11-1707 0 0,3 154-475 0 0,0-42-291 0 0,-2-97 47 0 0,8 68 0 0 0,-7-114-3360 0 0,-1-5-1775 0 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2 42 432 0 0,'0'-1'282'0'0,"-1"1"1"0"0,0 0-1 0 0,1 0 0 0 0,-1 0 1 0 0,1 0-1 0 0,0-1 1 0 0,-1 1-1 0 0,1 0 0 0 0,-1-1 1 0 0,1 1-1 0 0,-1-1 0 0 0,1 1 1 0 0,-1-1-1 0 0,1 1 0 0 0,0-1 1 0 0,-1 1-1 0 0,1-1 0 0 0,0 0 1 0 0,-1 1-1 0 0,1 0 0 0 0,0-1 1 0 0,0 1-1 0 0,0-1 0 0 0,0 0 1 0 0,0 1-1 0 0,0-2 0 0 0,-3-15 6922 0 0,5 7-2102 0 0,-2 10-5059 0 0,0 0 0 0 0,0 0 0 0 0,0 0 0 0 0,0 0 0 0 0,0 0 0 0 0,0 0 1 0 0,1 1-1 0 0,-1-1 0 0 0,0 0 0 0 0,0 0 0 0 0,0 0 0 0 0,0 0 1 0 0,0 0-1 0 0,0 0 0 0 0,0 0 0 0 0,0 0 0 0 0,0 0 0 0 0,0 0 1 0 0,0 0-1 0 0,0 0 0 0 0,0 0 0 0 0,0 0 0 0 0,0 0 0 0 0,0 0 0 0 0,0 0 1 0 0,0 0-1 0 0,1 0 0 0 0,-1 0 0 0 0,0 0 0 0 0,0 0 0 0 0,0 0 1 0 0,0 0-1 0 0,0 0 0 0 0,0 0 0 0 0,0 0 0 0 0,1 0 0 0 0,-1 0 0 0 0,0 0 1 0 0,0 0-1 0 0,0 0 0 0 0,0 0 0 0 0,0 0 0 0 0,0 0 0 0 0,0 0 1 0 0,1 0-1 0 0,-1 0 0 0 0,0 0 0 0 0,0 0 0 0 0,0 0 0 0 0,0 0 0 0 0,0-1 1 0 0,0 1-1 0 0,0 0 0 0 0,0 0 0 0 0,0 0 0 0 0,0 0 0 0 0,0 0 1 0 0,0 0-1 0 0,0 0 0 0 0,0 0 0 0 0,0-1 0 0 0,0 1 0 0 0,0 0 0 0 0,1 0 1 0 0,-1 0-1 0 0,0 0 0 0 0,-1 0 0 0 0,1-1 0 0 0,2 3 64 0 0,-1 1 177 0 0,0 1 0 0 0,0-1 0 0 0,0 1 1 0 0,0-1-1 0 0,-1 1 0 0 0,1 0 0 0 0,-1-1 0 0 0,0 7 0 0 0,1 6 149 0 0,2 3-78 0 0,-3-20-2502 0 0</inkml:trace>
</inkml:ink>
</file>

<file path=ppt/ink/ink2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6193 0 0,'1'31'10358'0'0,"2"1"-5768"0"0,1 32-1255 0 0,-4 282-309 0 0,2-163-10173 0 0,-1-178-381 0 0</inkml:trace>
</inkml:ink>
</file>

<file path=ppt/ink/ink2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1 10 432 0 0,'-2'-1'1449'0'0,"0"0"0"0"0,1 0 1 0 0,-1-1-1 0 0,1 1 0 0 0,-1 0 0 0 0,0 1 0 0 0,-2-1 0 0 0,3 0-772 0 0,0 1-1 0 0,0 0 0 0 0,0-1 1 0 0,-1 1-1 0 0,1 0 0 0 0,0 0 1 0 0,1 0-1 0 0,-2 0 0 0 0,1 0 1 0 0,-2 1-1 0 0,2 0-277 0 0,-1-1 1 0 0,0 1-1 0 0,1-1 1 0 0,0 1-1 0 0,-1 0 1 0 0,0 0-1 0 0,1 1 1 0 0,0-1-1 0 0,0-1 1 0 0,-1 2-1 0 0,1-1 1 0 0,0 0-1 0 0,0 1 1 0 0,-1 1-1 0 0,-1 1-252 0 0,1 2 0 0 0,-1-2-1 0 0,0 1 1 0 0,2-1 0 0 0,-1 2 0 0 0,0-1-1 0 0,1 0 1 0 0,1 0 0 0 0,-2 10-1 0 0,2-14-142 0 0,-1 1-1 0 0,1 0 1 0 0,0 0 0 0 0,0-1-1 0 0,1 1 1 0 0,-1 0-1 0 0,0 0 1 0 0,1-1-1 0 0,-1 1 1 0 0,1 0-1 0 0,-1-1 1 0 0,0 1-1 0 0,1 0 1 0 0,0-1-1 0 0,0 0 1 0 0,0 1-1 0 0,1 0 1 0 0,-2-1-1 0 0,1 0 1 0 0,1 0-1 0 0,-1 1 1 0 0,1-1 0 0 0,-1 0-1 0 0,0 0 1 0 0,0 0-1 0 0,1 0 1 0 0,0 0-1 0 0,-1-1 1 0 0,1 1-1 0 0,-1 0 1 0 0,1 0-1 0 0,-1-1 1 0 0,1 1-1 0 0,0-1 1 0 0,-1 0-1 0 0,1 0 1 0 0,0 0-1 0 0,2 0 1 0 0,-1 0 19 0 0,0 0 0 0 0,1 0 1 0 0,-1 0-1 0 0,1-1 0 0 0,-1 0 0 0 0,0 0 0 0 0,0 0 1 0 0,1-1-1 0 0,-2 2 0 0 0,2-2 0 0 0,-2 0 0 0 0,2 0 1 0 0,-2 1-1 0 0,1-1 0 0 0,-1 0 0 0 0,1 0 0 0 0,0-1 0 0 0,-2 1 1 0 0,4-5-1 0 0,-3 7-21 0 0,-1-2-1 0 0,0 1 1 0 0,0-1 0 0 0,0 0 0 0 0,-1 2-1 0 0,0-2 1 0 0,1 0 0 0 0,-1 0 0 0 0,1 2-1 0 0,-1-2 1 0 0,1 0 0 0 0,-1 0 0 0 0,0 1-1 0 0,0-1 1 0 0,0 0 0 0 0,0 1 0 0 0,0 0-1 0 0,0-1 1 0 0,0 0 0 0 0,-1 0 0 0 0,1 1-1 0 0,-1-1 1 0 0,0-1 0 0 0,0 0-5 0 0,0 1 1 0 0,-1 1-1 0 0,0-1 0 0 0,1 0 1 0 0,-1 0-1 0 0,0 1 1 0 0,1-1-1 0 0,-1 0 0 0 0,0 1 1 0 0,0 0-1 0 0,0 0 0 0 0,0-1 1 0 0,-1 1-1 0 0,1 0 0 0 0,-4 0 1 0 0,3 0-34 0 0,1 0 0 0 0,-1 1 0 0 0,1-1 1 0 0,-2 1-1 0 0,1 0 0 0 0,1 0 0 0 0,-1 0 1 0 0,1 1-1 0 0,-1-1 0 0 0,0 1 0 0 0,0 0 0 0 0,1-1 1 0 0,-5 2-1 0 0,5-1-18 0 0,0 0 1 0 0,0 0 0 0 0,0 0 0 0 0,0 0-1 0 0,0 0 1 0 0,1 0 0 0 0,-1 1-1 0 0,0 0 1 0 0,1-2 0 0 0,0 2 0 0 0,-1 0-1 0 0,0 0 1 0 0,1-1 0 0 0,0 1-1 0 0,0 0 1 0 0,0-1 0 0 0,-2 5 0 0 0,2 0-904 0 0</inkml:trace>
</inkml:ink>
</file>

<file path=ppt/ink/ink2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1 4 9154 0 0,'-1'0'571'0'0,"1"-1"-1"0"0,-1 1 1 0 0,-1-1 0 0 0,1 1 0 0 0,0 0-1 0 0,0-1 1 0 0,0 1 0 0 0,0 0 0 0 0,0 0-1 0 0,0 0 1 0 0,-1 0 0 0 0,2 0 0 0 0,-1 0 0 0 0,0 0-1 0 0,-1 0 1 0 0,1 1 0 0 0,0-1 0 0 0,-1 1-1 0 0,0 0-124 0 0,0-1 0 0 0,1 1 1 0 0,0 0-1 0 0,-1 1 0 0 0,0-1 0 0 0,1 0 0 0 0,0 0 0 0 0,-1 0 0 0 0,1 1 0 0 0,-1 1 0 0 0,-1 1-138 0 0,0 0 0 0 0,1 0 0 0 0,-1 2 0 0 0,1-2 1 0 0,1 0-1 0 0,-4 11 0 0 0,4-10-181 0 0,0-1 1 0 0,1 2-1 0 0,-1-1 0 0 0,1 0 1 0 0,0-1-1 0 0,0 1 1 0 0,2 10-1 0 0,-2-14-106 0 0,1 0 0 0 0,-1 0 0 0 0,0 0 0 0 0,0 0 0 0 0,0 0 0 0 0,1 0 0 0 0,-1 0 0 0 0,1 0 0 0 0,0 0 0 0 0,-1-1 0 0 0,1 1 0 0 0,0 0 0 0 0,0-1 0 0 0,-1 1 0 0 0,0 0 0 0 0,1 0 0 0 0,0-1 0 0 0,2 1 1 0 0,-2-1-16 0 0,0 1 0 0 0,0-1 0 0 0,0 0 0 0 0,1 0 0 0 0,-1 0 1 0 0,0 0-1 0 0,0 0 0 0 0,1 0 0 0 0,-1 0 0 0 0,1 0 1 0 0,-2 0-1 0 0,1-1 0 0 0,1 1 0 0 0,-1 0 0 0 0,1 0 1 0 0,-2-1-1 0 0,1 1 0 0 0,3-2 0 0 0,0-1 5 0 0,0 0 0 0 0,0 0 0 0 0,-1 0 0 0 0,2-1 0 0 0,-2 1 0 0 0,1 0 0 0 0,-1-1 0 0 0,0 0 0 0 0,0-1 0 0 0,0 1 0 0 0,-1 0 0 0 0,2-6 0 0 0,-2 8 4 0 0,-1-1 0 0 0,0 1 0 0 0,0 0 1 0 0,-1-1-1 0 0,1 1 0 0 0,-1-1 1 0 0,1 1-1 0 0,-1-1 0 0 0,0 0 0 0 0,0 1 1 0 0,-1-4-1 0 0,1 4-3 0 0,0 0 0 0 0,-1 1-1 0 0,0 0 1 0 0,1-1 0 0 0,-1 0 0 0 0,0 1 0 0 0,0 0 0 0 0,0-1-1 0 0,1 1 1 0 0,-1-1 0 0 0,0 2 0 0 0,-1-2 0 0 0,1 1 0 0 0,0-1 0 0 0,0 1-1 0 0,0 0 1 0 0,-1 1 0 0 0,-2-3 0 0 0,3 2-5 0 0,-1 1-1 0 0,1-1 1 0 0,0 1 0 0 0,0-1 0 0 0,-1 1 0 0 0,0 0-1 0 0,1 0 1 0 0,0 0 0 0 0,-1 0 0 0 0,1 0 0 0 0,-1 0-1 0 0,1 0 1 0 0,0 0 0 0 0,-1 0 0 0 0,1 0 0 0 0,0 0-1 0 0,-3 1 1 0 0,-12 6-851 0 0,6-1-2750 0 0,4-3-855 0 0,-2 2-4317 0 0</inkml:trace>
</inkml:ink>
</file>

<file path=ppt/ink/ink2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6 1840 0 0,'0'-1'309'0'0,"-1"1"-1"0"0,1 0 0 0 0,-1 0 0 0 0,1 0 0 0 0,0 0 1 0 0,-1 0-1 0 0,1 0 0 0 0,-1 0 0 0 0,1 0 0 0 0,0 0 1 0 0,-1 0-1 0 0,1 1 0 0 0,0-1 0 0 0,0 0 0 0 0,0 0 1 0 0,-1 0-1 0 0,1 0 0 0 0,0 0 0 0 0,-1 0 1 0 0,1 0-1 0 0,0 0 0 0 0,0 0 0 0 0,-1 1 0 0 0,4 1 5468 0 0,3-1-4660 0 0,112-7 4605 0 0,0 1-5542 0 0,138-1-162 0 0,-8 3 973 0 0,-246 5-1105 0 0,-6-1-3159 0 0</inkml:trace>
</inkml:ink>
</file>

<file path=ppt/ink/ink2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1 4401 0 0,'-1'1'544'0'0,"0"1"1"0"0,0-2 0 0 0,0 2-1 0 0,0-1 1 0 0,1 1-1 0 0,0-1 1 0 0,-1 0-1 0 0,1 1 1 0 0,-1-1-1 0 0,1 1 1 0 0,0-1-1 0 0,-1 1 1 0 0,1-1 0 0 0,0 3-1 0 0,2 25 2024 0 0,-1-15 89 0 0,11 111 2676 0 0,-7-82-5020 0 0,1 65 0 0 0,-7 78 1885 0 0,1-186-2265 0 0,0 0 1 0 0,0 0-1 0 0,0 0 1 0 0,0 0-1 0 0,0 0 0 0 0,0 0 1 0 0,0 0-1 0 0,0 0 1 0 0,0 0-1 0 0,0-1 0 0 0,0 1 1 0 0,0 0-1 0 0,1 0 1 0 0,-1 0-1 0 0,0 0 1 0 0,0 0-1 0 0,0 0 0 0 0,0 0 1 0 0,0 0-1 0 0,0 0 1 0 0,0 0-1 0 0,0 0 0 0 0,0 0 1 0 0,0 0-1 0 0,0 0 1 0 0,0 0-1 0 0,0 0 1 0 0,1 0-1 0 0,-1 0 0 0 0,0 0 1 0 0,0 0-1 0 0,0 0 1 0 0,0 0-1 0 0,0 0 1 0 0,0 0-1 0 0,0 0 0 0 0,0 0 1 0 0,0 0-1 0 0,0 0 1 0 0,0 0-1 0 0,0 0 0 0 0,0 0 1 0 0,1 0-1 0 0,-1 0 1 0 0,0 0-1 0 0,0 0 1 0 0,0 0-1 0 0,0 0 0 0 0,0 0 1 0 0,0 1-1 0 0,0-1 1 0 0,0 0-1 0 0,0 0 0 0 0,0-2-1580 0 0</inkml:trace>
</inkml:ink>
</file>

<file path=ppt/ink/ink2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2 4401 0 0,'-5'-1'10637'0'0,"13"2"-1470"0"0,-2-1-9108 0 0,142 3 1338 0 0,-50 2-1425 0 0,-55-3 2 0 0,62-3 0 0 0,-80 0 43 0 0,17-3 101 0 0,42 2 1 0 0,-38 4 320 0 0,90-7-1 0 0,-141 8-1937 0 0,4-3 459 0 0</inkml:trace>
</inkml:ink>
</file>

<file path=ppt/ink/ink2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1 3369 0 0,'-1'1'467'0'0,"0"0"0"0"0,0 0 0 0 0,1 0 1 0 0,0 1-1 0 0,0 0 0 0 0,-1-1 0 0 0,1 0 0 0 0,-1 0 1 0 0,1 4-1 0 0,-1 25 2090 0 0,1-19-1055 0 0,5 90 3626 0 0,-1-43-3952 0 0,24 249 2206 0 0,-27-297-3677 0 0,2 15 583 0 0,-5-11-4086 0 0</inkml:trace>
</inkml:ink>
</file>

<file path=ppt/ink/ink2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4401 0 0,'0'2'639'0'0,"0"-1"0"0"0,0 1 1 0 0,0 1-1 0 0,0-2 0 0 0,0 1 0 0 0,0 0 1 0 0,1 0-1 0 0,0 2 0 0 0,0 2 1090 0 0,2 105 7666 0 0,1 0-7439 0 0,3 93-26 0 0,-6-145-1331 0 0,-2-11-255 0 0,0 10-441 0 0,6-21-5094 0 0</inkml:trace>
</inkml:ink>
</file>

<file path=ppt/ink/ink2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8 1840 0 0,'6'-1'9887'0'0,"6"-1"-5044"0"0,5-3-3145 0 0,25-2 1 0 0,28 4 1814 0 0,113-3-879 0 0,-135 4-2341 0 0,61-8 1 0 0,-105 9-293 0 0,18 1 6 0 0,-13 2-4634 0 0</inkml:trace>
</inkml:ink>
</file>

<file path=ppt/ink/ink2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0 1840 0 0,'0'1'506'0'0,"0"0"-1"0"0,0-1 1 0 0,1 1-1 0 0,-1 0 1 0 0,0-1-1 0 0,0 1 0 0 0,0 0 1 0 0,0-1-1 0 0,1 0 1 0 0,-1 1-1 0 0,0 0 1 0 0,1-1-1 0 0,-1 1 0 0 0,0-1 1 0 0,0 1-1 0 0,0-1 1 0 0,1 1-1 0 0,-1 0 1 0 0,1-1-1 0 0,-1 0 1 0 0,1 0-1 0 0,0 1 0 0 0,1 0 87 0 0,-2-1 0 0 0,2 1 0 0 0,-1 0 0 0 0,1-1 0 0 0,0 1 0 0 0,-2-1 0 0 0,2 0 0 0 0,0 1 0 0 0,1-1 0 0 0,5 0 635 0 0,1 0 0 0 0,14-4 0 0 0,-14 3-114 0 0,121-9 1250 0 0,-12 2-2214 0 0,-85 5 174 0 0,46 1 0 0 0,-53 5-41 0 0,-6 0-3573 0 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432 0 0,'4'3'11201'0'0,"3"-2"-5920"0"0,11-1-3903 0 0,-7 0 429 0 0,58 10 471 0 0,105 29 1 0 0,-111-23-1452 0 0,32 11-120 0 0,62 18-187 0 0,-60-14-414 0 0,41 13 76 0 0,-109-34-165 0 0,38 5 0 0 0,20 8 13 0 0,37 10 181 0 0,-51-14-190 0 0,87 32 120 0 0,-41-12 150 0 0,-18-6-284 0 0,28 8 186 0 0,85 29 23 0 0,-106-35-163 0 0,-3-1 9 0 0,-56-19-49 0 0,-37-12-16 0 0,-5-1-2 0 0,-1 0-1 0 0,1-1 0 0 0,-1 2 1 0 0,0-1-1 0 0,0 1 1 0 0,0 0-1 0 0,0 1 0 0 0,7 4 1 0 0,-13-7-1 0 0,0-1 0 0 0,0 0-1 0 0,0 0 1 0 0,0 0 0 0 0,0 0 0 0 0,0 0 0 0 0,0 0 0 0 0,0 0 0 0 0,0 0 0 0 0,0 0 0 0 0,0 0 0 0 0,0 0 0 0 0,0 0 0 0 0,0 0 0 0 0,0 0 0 0 0,0 0 0 0 0,0 0-1 0 0,0 0 1 0 0,0 0 0 0 0,0 0 0 0 0,0 0 0 0 0,0 0 0 0 0,0 0 0 0 0,0 0 0 0 0,0 0 0 0 0,0 0 0 0 0,0 0 0 0 0,0 0 0 0 0,0 0 0 0 0,0 0 0 0 0,0 0-1 0 0,0 1 1 0 0,0-1 0 0 0,0 0 0 0 0,0 0 0 0 0,0 0 0 0 0,0 0 0 0 0,0 0 0 0 0,0 0 0 0 0,0 0 0 0 0,0 0 0 0 0,0 0 0 0 0,0 0 0 0 0,0 0 0 0 0,0 0-1 0 0,0 0 1 0 0,0 0 0 0 0,0 0 0 0 0,0 0 0 0 0,0 0 0 0 0,-1 0 0 0 0,1 0 0 0 0,0 0 0 0 0,0 0 0 0 0,-6 2-203 0 0,-6-2-310 0 0,-13-3-526 0 0,9 1 508 0 0</inkml:trace>
</inkml:ink>
</file>

<file path=ppt/ink/ink2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6793 0 0,'0'0'9045'0'0,"1"1"-9400"0"0,0 4 1643 0 0,0 0 1 0 0,0 0-1 0 0,0 9 0 0 0,-1 32 956 0 0,-1-28-1802 0 0,4 358-156 0 0,-2-322-172 0 0,10 74 581 0 0,-3-74-6205 0 0</inkml:trace>
</inkml:ink>
</file>

<file path=ppt/ink/ink2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33 3369 0 0,'-10'-2'2807'0'0,"11"1"-760"0"0,6 0-528 0 0,15-1 3925 0 0,14 4-3652 0 0,5-1-2068 0 0,36-5-1334 0 0,30 0 649 0 0,-80 3 2205 0 0,34-7 1 0 0,0 0-2182 0 0,-41 7 1489 0 0,-10-1 345 0 0,0 1-1 0 0,0 1 0 0 0,0 0 0 0 0,17 2 0 0 0,-36-2-2374 0 0,6 1-3906 0 0,-1-1-580 0 0</inkml:trace>
</inkml:ink>
</file>

<file path=ppt/ink/ink2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6 8498 0 0,'9'1'5682'0'0,"8"-1"-2508"0"0,-9 0-1684 0 0,150-8 3055 0 0,-47 1-2321 0 0,21 6-4096 0 0,-79 1 1040 0 0,-50 0-2471 0 0</inkml:trace>
</inkml:ink>
</file>

<file path=ppt/ink/ink2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3 5617 0 0,'3'0'592'0'0,"-2"-1"1"0"0,1 0-1 0 0,0 1 0 0 0,-1 0 0 0 0,2-1 0 0 0,-1 1 1 0 0,0 0-1 0 0,4 1 0 0 0,1-2 1168 0 0,106-7 5382 0 0,-38 2-5282 0 0,104-6 988 0 0,-159 10-4326 0 0,-8 1-1102 0 0,0 1 0 0 0,0 0 0 0 0,14 2 0 0 0</inkml:trace>
</inkml:ink>
</file>

<file path=ppt/ink/ink2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5 3889 0 0,'21'0'15399'0'0,"-3"-2"-11454"0"0,14 0-2464 0 0,27-2-544 0 0,257-12-1608 0 0,-313 16-195 0 0,2 0-1285 0 0</inkml:trace>
</inkml:ink>
</file>

<file path=ppt/ink/ink2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4 15 4401 0 0,'-7'1'-492'0'0,"1"3"11335"0"0,15-2-8209 0 0,41-2 3787 0 0,26-6-3542 0 0,25-1-2305 0 0,51 4-196 0 0,-126 0-404 0 0,-21 3-85 0 0,0-1 0 0 0,0 0 1 0 0,1 1-1 0 0,-1-1 0 0 0,0 1 0 0 0,0 1 0 0 0,0-1 0 0 0,0 1 0 0 0,1 0 0 0 0,7 3 0 0 0,-13-4-16 0 0,0 0 1 0 0,-1 0-1 0 0,1 0 0 0 0,0 0 0 0 0,0 0 0 0 0,0 0 0 0 0,0 0 0 0 0,0 0 0 0 0,0 0 0 0 0,0 0 1 0 0</inkml:trace>
</inkml:ink>
</file>

<file path=ppt/ink/ink2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3 12 3889 0 0,'-8'1'-525'0'0,"-6"2"10213"0"0,24-3-5952 0 0,114-5 5361 0 0,137-1-8110 0 0,-162 1-2614 0 0</inkml:trace>
</inkml:ink>
</file>

<file path=ppt/ink/ink2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3 3 1840 0 0,'-2'0'-49'0'0,"-1"0"712"0"0,1 0 0 0 0,-1 0 1 0 0,1 0-1 0 0,-1 1 0 0 0,1-1 0 0 0,-1 1 1 0 0,0-1-1 0 0,1 1 0 0 0,-6 2 0 0 0,11-2 4051 0 0,16 2-1589 0 0,150-8 2575 0 0,10 0-256 0 0,-84 2-11571 0 0</inkml:trace>
</inkml:ink>
</file>

<file path=ppt/ink/ink2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 6193 0 0,'0'0'60'0'0,"0"0"0"0"0,0 0 0 0 0,0 0-1 0 0,0 0 1 0 0,0 0 0 0 0,0 0-1 0 0,0 0 1 0 0,0 0 0 0 0,0 0 0 0 0,0 0-1 0 0,0 0 1 0 0,0 0 0 0 0,0 0 0 0 0,0 0-1 0 0,0 0 1 0 0,0 0 0 0 0,0 0-1 0 0,0 0 1 0 0,0 1 0 0 0,0-1 0 0 0,0 0-1 0 0,0 0 1 0 0,0 0 0 0 0,0 0 0 0 0,0 0-1 0 0,0 0 1 0 0,0 0 0 0 0,0 0-1 0 0,0 0 1 0 0,0 0 0 0 0,0 0 0 0 0,0 0-1 0 0,0 0 1 0 0,0 0 0 0 0,0 0 0 0 0,0 0-1 0 0,0 0 1 0 0,0 1 0 0 0,0-1-1 0 0,0 0 1 0 0,0 0 0 0 0,0 0 0 0 0,0 0-1 0 0,-1 0 1 0 0,1 0 0 0 0,0 0 0 0 0,0 0-1 0 0,0 0 1 0 0,0 0 0 0 0,0 0-1 0 0,0 0 1 0 0,9 3 2608 0 0,13 1 1811 0 0,76 0 4285 0 0,50-14-6363 0 0,-121 8-2282 0 0,29 1-1 0 0,-19 4-8280 0 0,-33-3-298 0 0</inkml:trace>
</inkml:ink>
</file>

<file path=ppt/ink/ink2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1 1896 0 0,'1'-10'5823'0'0,"-1"18"296"0"0,-2 115-4364 0 0,5 143 761 0 0,10-60-735 0 0,-13-202-1818 0 0,0 0-648 0 0,0-2-2596 0 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3 7 432 0 0,'-12'-7'20010'0'0,"17"9"-19007"0"0,97 34 2253 0 0,-56-21-2306 0 0,26 7-283 0 0,190 52-70 0 0,-188-49-515 0 0,36 10 39 0 0,26 6-77 0 0,-69-19-2 0 0,76 13 0 0 0,-14-2 53 0 0,-55-13-54 0 0,98 30 103 0 0,-167-48-144 0 0,112 29 0 0 0,-71-20 0 0 0,-27-5 56 0 0,18 7 1 0 0,9 5 43 0 0,101 22 47 0 0,-74-17-83 0 0,-39-13-16 0 0,12 4 32 0 0,-25-7-86 0 0,-17-7 4 0 0,0 1 0 0 0,0 0 1 0 0,0 1-1 0 0,0-1 0 0 0,0 0 0 0 0,-1 1 0 0 0,1 1 1 0 0,-1-2-1 0 0,5 5 0 0 0,-8-6-91 0 0,0 0-1 0 0,0 0 1 0 0,0 1-1 0 0,0-1 1 0 0,0 0-1 0 0,0 1 1 0 0,0-1-1 0 0,0 0 1 0 0,0 1-1 0 0,-1-1 1 0 0,1 0 0 0 0,0 0-1 0 0,0 1 1 0 0,0-1-1 0 0,0 0 1 0 0,-1 1-1 0 0,1-1 1 0 0,0 0-1 0 0,0 0 1 0 0,0 1-1 0 0,0-1 1 0 0,0 0 0 0 0,0 0-1 0 0,-1 0 1 0 0,1 1-1 0 0,-1-1 1 0 0</inkml:trace>
</inkml:ink>
</file>

<file path=ppt/ink/ink2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888 0 0,'-1'22'7922'0'0,"11"100"-166"0"0,-4-1-4079 0 0,12 147-1643 0 0,-13-221-5505 0 0,-3-15-2846 0 0,-2-26 4518 0 0</inkml:trace>
</inkml:ink>
</file>

<file path=ppt/ink/ink2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5617 0 0,'0'7'556'0'0,"2"250"14114"0"0,12-1-11919 0 0,-9-210-3470 0 0,1 1-5015 0 0,-6-39-653 0 0</inkml:trace>
</inkml:ink>
</file>

<file path=ppt/ink/ink2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1 5065 0 0,'-3'22'2246'0'0,"0"47"4168"0"0,4 35-2893 0 0,0-27-1171 0 0,6 127 1031 0 0,6-70-7603 0 0,-11-114 808 0 0,-1-15-2237 0 0</inkml:trace>
</inkml:ink>
</file>

<file path=ppt/ink/ink2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1352 0 0,'2'82'11138'0'0,"1"-1"-5414"0"0,1 32-1387 0 0,7 77-2905 0 0,3-65-9268 0 0,-14-120 1875 0 0</inkml:trace>
</inkml:ink>
</file>

<file path=ppt/ink/ink2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5065 0 0,'2'17'2239'0'0,"-2"30"0"0"0,0-15 607 0 0,1 105 5746 0 0,-1 18-5652 0 0,10-1-4970 0 0,-4-108-1177 0 0,-1-17-2087 0 0,-4-22 258 0 0</inkml:trace>
</inkml:ink>
</file>

<file path=ppt/ink/ink2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5617 0 0,'2'95'9707'0'0,"3"0"-4228"0"0,-2-11-2246 0 0,6 32-2466 0 0,-1-19-7055 0 0,-8-89 4290 0 0,0 0-4093 0 0</inkml:trace>
</inkml:ink>
</file>

<file path=ppt/ink/ink2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2881 0 0,'0'4'8527'0'0,"2"18"-4768"0"0,4 62 3240 0 0,-2 2-3545 0 0,11 125-3990 0 0,-14-208-64 0 0,0 15-1136 0 0,0-5-5234 0 0,-1-7 154 0 0</inkml:trace>
</inkml:ink>
</file>

<file path=ppt/ink/ink2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 12211 0 0,'-2'20'1875'0'0,"1"0"1"0"0,1-1 0 0 0,3 24 0 0 0,-1-5 544 0 0,1 40-978 0 0,5 91 494 0 0,1-57-6862 0 0,-7-104 2262 0 0,-1-5 1306 0 0</inkml:trace>
</inkml:ink>
</file>

<file path=ppt/ink/ink2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 5617 0 0,'-1'12'2271'0'0,"0"1"1"0"0,1-1-1 0 0,2 17 0 0 0,-1 1 1143 0 0,1 53 954 0 0,1 50-1401 0 0,5 1-9433 0 0,-7-127-572 0 0</inkml:trace>
</inkml:ink>
</file>

<file path=ppt/ink/ink2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0 7258 0 0,'-1'14'2563'0'0,"0"0"0"0"0,2-1 0 0 0,1 17 0 0 0,0 5 1289 0 0,0 6-2186 0 0,3 117 971 0 0,3-53-9999 0 0,-7-95 517 0 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93 432 0 0,'0'-56'3453'0'0,"0"19"8784"0"0,2 49-7277 0 0,2 10-3197 0 0,1 4-907 0 0,19 182 2105 0 0,-24-204-2916 0 0,1-2-20 0 0,-1 0 1 0 0,1 0 0 0 0,-1 0 0 0 0,0 1-1 0 0,0-2 1 0 0,0 2 0 0 0,0-1 0 0 0,0 0-1 0 0,0 0 1 0 0,-1 3 0 0 0,0-5-26 0 0,1 0 0 0 0,0 0 0 0 0,0 0 0 0 0,0 0 0 0 0,0 0 0 0 0,0 0 0 0 0,0 0 0 0 0,0 0 0 0 0,0 1 0 0 0,0-1 0 0 0,0 0 0 0 0,0 0 0 0 0,0 0 0 0 0,0 0 0 0 0,-1 0 0 0 0,1 0 0 0 0,0 0 0 0 0,0 0 0 0 0,0 0 0 0 0,0 0 0 0 0,0 0 0 0 0,0 0 0 0 0,0 0 0 0 0,0 0 0 0 0,0 0 0 0 0,0 0 0 0 0,0 0 0 0 0,0 0 0 0 0,0-1 0 0 0,0 1 0 0 0,0 0 0 0 0,0 0 0 0 0,0 0 0 0 0,0 0 0 0 0,0 0 0 0 0,0 0 0 0 0,0 0 0 0 0,0 0 0 0 0,0 0 0 0 0,0 0 0 0 0,0 0 0 0 0,0 0 0 0 0,0 0 0 0 0,0 0 0 0 0,-1 0 0 0 0,1 0 0 0 0,0-1 0 0 0,0 1 0 0 0,0 0 0 0 0,0 0 0 0 0,0 0 0 0 0,0 0 0 0 0,0 0 0 0 0,-2-6 0 0 0,1-4 0 0 0,-7-83-1673 0 0,1-16-487 0 0,17 146 3148 0 0,8 80 1048 0 0,-12-72-1611 0 0,-5-44-2200 0 0</inkml:trace>
</inkml:ink>
</file>

<file path=ppt/ink/ink2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9154 0 0,'-3'49'3614'0'0,"6"61"-1"0"0,-2-72-2120 0 0,0-5-999 0 0,3 72-390 0 0,0-36-4393 0 0,-2-53-996 0 0</inkml:trace>
</inkml:ink>
</file>

<file path=ppt/ink/ink2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6793 0 0,'3'122'11467'0'0,"3"-1"-5030"0"0,5 0-5585 0 0,1 0-6143 0 0,-11-115 3549 0 0</inkml:trace>
</inkml:ink>
</file>

<file path=ppt/ink/ink2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6 1352 0 0,'0'-1'209'0'0,"0"1"1"0"0,0 0-1 0 0,0 0 0 0 0,0 0 0 0 0,0 0 0 0 0,0-1 0 0 0,0 1 0 0 0,0 0 1 0 0,0 0-1 0 0,0 0 0 0 0,0 0 0 0 0,0 0 0 0 0,0 0 0 0 0,0 0 0 0 0,0 0 1 0 0,0-1-1 0 0,1 1 0 0 0,-1 0 0 0 0,0 0 0 0 0,0 0 0 0 0,0 0 0 0 0,0-1 1 0 0,0 1-1 0 0,0 0 0 0 0,0 0 0 0 0,1 0 0 0 0,-1 0 0 0 0,0 0 0 0 0,0 0 1 0 0,0-1-1 0 0,0 1 0 0 0,1 0 0 0 0,-1 0 0 0 0,0 0 0 0 0,0 0 0 0 0,0 0 1 0 0,0 0-1 0 0,0 0 0 0 0,0 0 0 0 0,0 0 0 0 0,0 0 0 0 0,5 7 6346 0 0,1 11-723 0 0,12 217-36 0 0,-14-134-8685 0 0,5-1-6796 0 0,-7-90 2878 0 0</inkml:trace>
</inkml:ink>
</file>

<file path=ppt/ink/ink2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10370 0 0,'-1'14'2692'0'0,"1"0"0"0"0,1-1 0 0 0,5 25 0 0 0,-1 0 710 0 0,6 111-447 0 0,-3-42-3043 0 0,3 1-4746 0 0,-10-101-3400 0 0</inkml:trace>
</inkml:ink>
</file>

<file path=ppt/ink/ink2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0 2361 0 0,'2'1'1055'0'0,"0"-1"0"0"0,0 0 0 0 0,1 1 1 0 0,-1-1-1 0 0,0-1 0 0 0,1 1 1 0 0,3-1-1 0 0,1 0 905 0 0,67 1 4745 0 0,1 0-5355 0 0,106-1-4060 0 0,-151-1 2654 0 0,189-4 2756 0 0,-99 7-4469 0 0,-88-1 1290 0 0</inkml:trace>
</inkml:ink>
</file>

<file path=ppt/ink/ink2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2 3369 0 0,'-8'3'9361'0'0,"14"-3"-7820"0"0,49-2 3799 0 0,30 2-3486 0 0,23 0-1690 0 0,165-3 725 0 0,-232 4-827 0 0,22-2 552 0 0,42 2-1819 0 0,-103 0-378 0 0</inkml:trace>
</inkml:ink>
</file>

<file path=ppt/ink/ink2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5065 0 0,'0'0'37'0'0,"0"0"0"0"0,0 0 1 0 0,0 0-1 0 0,0 1 0 0 0,-1-1 0 0 0,1 0 0 0 0,0 0 1 0 0,0 0-1 0 0,0 0 0 0 0,0 0 0 0 0,0 0 0 0 0,0 0 1 0 0,0 0-1 0 0,0 0 0 0 0,0 0 0 0 0,0 0 0 0 0,-1 0 1 0 0,1 0-1 0 0,0 0 0 0 0,0 0 0 0 0,0 0 0 0 0,0 1 1 0 0,0-1-1 0 0,0 0 0 0 0,0 0 0 0 0,0 0 0 0 0,0 0 1 0 0,0 0-1 0 0,0 0 0 0 0,0 0 0 0 0,0 0 0 0 0,0 0 1 0 0,0 1-1 0 0,0-1 0 0 0,0 0 0 0 0,0 0 0 0 0,0 0 0 0 0,0 0 1 0 0,0 0-1 0 0,0 0 0 0 0,0 0 0 0 0,0 0 0 0 0,0 0 1 0 0,0 0-1 0 0,0 0 0 0 0,0 0 0 0 0,0 0 0 0 0,0 0 1 0 0,0 0-1 0 0,0 0 0 0 0,1 0 0 0 0,-1 0 0 0 0,0 0 1 0 0,6 4 1882 0 0,9 0 978 0 0,196 3 7067 0 0,-96-5-8370 0 0,-44-1-1025 0 0,-20-1-428 0 0,-1 2 0 0 0,63 11 0 0 0,-111-12-651 0 0,8 2 407 0 0,-4-1-7865 0 0</inkml:trace>
</inkml:ink>
</file>

<file path=ppt/ink/ink2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9154 0 0,'209'1'10098'0'0,"-70"2"-7147"0"0,-88-1-2938 0 0,101 4 3035 0 0,-101-3-5391 0 0,0 0-3868 0 0,-48-2-113 0 0</inkml:trace>
</inkml:ink>
</file>

<file path=ppt/ink/ink2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5 2361 0 0,'2'-4'9625'0'0,"0"4"-6179"0"0,-1 7-1653 0 0,6 104 1494 0 0,-3-47-2490 0 0,1 3-753 0 0,2 54-2073 0 0,-8-93 2078 0 0,0 42-18 0 0,6-24-4129 0 0,-5-44 2979 0 0</inkml:trace>
</inkml:ink>
</file>

<file path=ppt/ink/ink2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0 4401 0 0,'-4'3'8477'0'0,"2"6"-4541"0"0,2 13-2367 0 0,0-18-791 0 0,6 256 4199 0 0,-5-246-5337 0 0,3 101 1269 0 0,-6-66-5856 0 0,2-43 11 0 0,1-4 4823 0 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2 1696 0 0,'-4'-2'10947'0'0,"51"10"-4900"0"0,65 21-2150 0 0,31 12-1997 0 0,-32-9-1299 0 0,92 24 289 0 0,-154-39-655 0 0,42 11 286 0 0,55 13-280 0 0,-7 15-312 0 0,-32-11 122 0 0,-29-14 112 0 0,-76-30-160 0 0,-7-2-264 0 0,-3-1-2674 0 0,1 0-5699 0 0</inkml:trace>
</inkml:ink>
</file>

<file path=ppt/ink/ink2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21 5065 0 0,'-7'3'6735'0'0,"17"-3"671"0"0,2-1-5310 0 0,174-6 977 0 0,-156 6-2276 0 0,173-5-476 0 0,-188 6-1073 0 0,0 0-1 0 0,-1-1 0 0 0,1-1 1 0 0,14-4-1 0 0</inkml:trace>
</inkml:ink>
</file>

<file path=ppt/ink/ink2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7 4401 0 0,'11'-7'8412'0'0,"3"4"-3598"0"0,18 5-1729 0 0,-11-1-2312 0 0,121-2-724 0 0,45-2-490 0 0,-137 1 639 0 0,90-1 3860 0 0,-108 3-3232 0 0</inkml:trace>
</inkml:ink>
</file>

<file path=ppt/ink/ink2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3 888 0 0,'1'-12'1525'0'0,"-1"12"-1585"0"0</inkml:trace>
</inkml:ink>
</file>

<file path=ppt/ink/ink2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3 3369 0 0,'0'0'-29'0'0,"0"-13"4089"0"0,0 22 2007 0 0,-3 98-2274 0 0,19 141-2081 0 0,-12-199-2467 0 0,-4-27-5609 0 0,0-18 1248 0 0</inkml:trace>
</inkml:ink>
</file>

<file path=ppt/ink/ink2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4257 0 0,'-2'8'8850'0'0,"2"11"-6504"0"0,0-17-1485 0 0,5 166 5124 0 0,1 1-4238 0 0,-5-143-1451 0 0,0 3-1365 0 0,-1-11-6213 0 0,0-15 397 0 0</inkml:trace>
</inkml:ink>
</file>

<file path=ppt/ink/ink2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12787 0 0,'0'1'957'0'0,"0"-1"-851"0"0,0 0 0 0 0,0 0 1 0 0,0 0-1 0 0,0 0 0 0 0,0 0 1 0 0,0 0-1 0 0,0 0 0 0 0,0 1 1 0 0,0-1-1 0 0,0 0 0 0 0,0 0 1 0 0,0 0-1 0 0,0 0 0 0 0,0 0 1 0 0,0 0-1 0 0,0 0 0 0 0,0 0 1 0 0,0 0-1 0 0,0 0 0 0 0,0 0 1 0 0,0 0-1 0 0,0 0 0 0 0,0 0 1 0 0,0 0-1 0 0,0 0 0 0 0,0 0 958 0 0,0 1-958 0 0,0-1 0 0 0,0 0 1 0 0,0 0-1 0 0,1 0 0 0 0,-1 0 1 0 0,0 0-1 0 0,0 0 1 0 0,5 1 2867 0 0,7 0-168 0 0,1-2-1979 0 0,9 0-272 0 0,-9-3-6078 0 0</inkml:trace>
</inkml:ink>
</file>

<file path=ppt/ink/ink2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6 12787 0 0,'0'-1'256'0'0,"0"1"1"0"0,0-1 0 0 0,1 1-1 0 0,-1 0 1 0 0,0-1 0 0 0,0 1-1 0 0,0 0 1 0 0,0-1 0 0 0,1 1-1 0 0,-1 0 1 0 0,0 0 0 0 0,0 0-1 0 0,0 0 1 0 0,1 0 0 0 0,-1-1-1 0 0,0 1 1 0 0,0 0 0 0 0,0 0-1 0 0,0 0 1 0 0,0-1 0 0 0,1 1-1 0 0,-1 0 1 0 0,0 0 0 0 0,1 0-1 0 0,-1 0 1 0 0,0 0 0 0 0,1 0-1 0 0,0-1 1 0 0,13-1 3611 0 0,-6 1-4774 0 0,-1-1-3926 0 0,-4-3-2294 0 0,-3-1 5311 0 0,-2 3 1790 0 0</inkml:trace>
</inkml:ink>
</file>

<file path=ppt/ink/ink2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5 12211 0 0,'1'0'299'0'0,"-1"-1"1"0"0,0 1-1 0 0,0 0 1 0 0,0-1-1 0 0,1 1 1 0 0,-1-1-1 0 0,0 1 1 0 0,0 0-1 0 0,1-1 1 0 0,-1 1 0 0 0,0 0-1 0 0,0-1 1 0 0,0 1-1 0 0,0 0 1 0 0,1 0-1 0 0,-1 0 1 0 0,0 0-1 0 0,1 0 1 0 0,-1 0-1 0 0,0 0 1 0 0,1-1-1 0 0,-1 1 1 0 0,1 0 0 0 0,0 0-1 0 0,9-5 4282 0 0,0 5-2838 0 0,1-1-2052 0 0,-4-1-7090 0 0</inkml:trace>
</inkml:ink>
</file>

<file path=ppt/ink/ink2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6 11402 0 0,'6'-1'9307'0'0,"6"0"-5509"0"0,-1-2-10801 0 0</inkml:trace>
</inkml:ink>
</file>

<file path=ppt/ink/ink2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6 11634 0 0,'0'1'173'0'0,"0"-1"0"0"0,0 0-1 0 0,0 0 1 0 0,-1 1 0 0 0,1-1-1 0 0,0 0 1 0 0,0 0-1 0 0,0 1 1 0 0,0-1 0 0 0,0 0-1 0 0,0 0 1 0 0,0 1-1 0 0,0-1 1 0 0,0 0 0 0 0,1 0-1 0 0,-1 0 1 0 0,0 0-1 0 0,0 0 1 0 0,0 0 0 0 0,0 0-1 0 0,0 1 1 0 0,0-1-1 0 0,0 0 1 0 0,0 0 0 0 0,1 0-1 0 0,-1 1 1 0 0,0-1-1 0 0,0 0 1 0 0,0 0 0 0 0,1 0-1 0 0,-1 0 1 0 0,0 1-1 0 0,0-1 1 0 0,0 0 0 0 0,0 0-1 0 0,0 0 1 0 0,0 0 0 0 0,0 0-1 0 0,1 0 1 0 0,-1 0-1 0 0,0 0 1 0 0,0 0 0 0 0,0 1-1 0 0,1-1 1 0 0,-1 0-1 0 0,12 2 2979 0 0,-11-3-3290 0 0,1 1 0 0 0,0-1 0 0 0,-1 0 0 0 0,1 0 0 0 0,-1 0-1 0 0,1 0 1 0 0,-2 0 0 0 0,2 0 0 0 0,-1 0 0 0 0,2-2 0 0 0,-1 0-1180 0 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43 5121 0 0,'4'-22'3387'0'0,"-1"2"6173"0"0,-3 28-3587 0 0,0 26-4705 0 0,0 71-515 0 0,2-41-496 0 0,-2 8 100 0 0,-2 131 277 0 0,-2-98-538 0 0,3-101-211 0 0,-1-6-158 0 0,-1-5-310 0 0</inkml:trace>
</inkml:ink>
</file>

<file path=ppt/ink/ink2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2787 0 0,'4'2'7852'0'0,"4"-1"-4036"0"0,8 3-4903 0 0</inkml:trace>
</inkml:ink>
</file>

<file path=ppt/ink/ink2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1352 0 0,'9'-2'6950'0'0,"5"1"-4722"0"0,100 5 4140 0 0,8 1-6880 0 0,-85-2 530 0 0,1-2 0 0 0,45-5-1 0 0,12 0-693 0 0,-72 2 1299 0 0,-11 2-1918 0 0,1 0-4902 0 0,-11 0 2344 0 0</inkml:trace>
</inkml:ink>
</file>

<file path=ppt/ink/ink2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5065 0 0,'4'14'7227'0'0,"2"13"-73"0"0,-5 2-4922 0 0</inkml:trace>
</inkml:ink>
</file>

<file path=ppt/ink/ink2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3 2361 0 0,'3'0'402'0'0,"-2"-1"0"0"0,1 1 0 0 0,1-1 0 0 0,-2 0 0 0 0,2 1 0 0 0,-1 0 0 0 0,0-1 0 0 0,0 1 0 0 0,3 0 0 0 0,1 0 780 0 0,69-3 7902 0 0,1 3-5356 0 0,50-2-2162 0 0,-51-3-827 0 0,86-3 722 0 0,-154 8-1045 0 0,0 1-4997 0 0</inkml:trace>
</inkml:ink>
</file>

<file path=ppt/ink/ink2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0 9154 0 0,'0'18'6861'0'0,"-1"0"-3956"0"0,2-1-4927 0 0</inkml:trace>
</inkml:ink>
</file>

<file path=ppt/ink/ink2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0 15843 0 0,'-3'26'6004'0'0,"2"-22"-5526"0"0,0 1 0 0 0,1 0 0 0 0,-1 0 1 0 0,1 0-1 0 0,1 8 0 0 0,-1-13-537 0 0,0 0 0 0 0,0 1 0 0 0,0-1 0 0 0,0 0 1 0 0,1 1-1 0 0,-1-1 0 0 0,0 0 0 0 0,0 1 0 0 0,0-1 0 0 0,0 0 0 0 0,1 0 0 0 0,-1 0 1 0 0,0 0-1 0 0,0 0 0 0 0,0 0 0 0 0,0 1 0 0 0,0-1 0 0 0,0 0 0 0 0,0 0 0 0 0,1 0 1 0 0,-1 0-1 0 0,0 1 0 0 0,1-1 0 0 0,-1 0 0 0 0,0 0 0 0 0,1 0 0 0 0,2 1-150 0 0</inkml:trace>
</inkml:ink>
</file>

<file path=ppt/ink/ink2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 16876 0 0,'0'8'6354'0'0,"0"11"-3636"0"0,-1-16-3250 0 0,-1 8 2369 0 0,4-5-4550 0 0</inkml:trace>
</inkml:ink>
</file>

<file path=ppt/ink/ink2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1 10882 0 0,'-7'9'7808'0'0,"7"-7"-7291"0"0,-1 0-1 0 0,1 0 1 0 0,-1-1-1 0 0,1 1 1 0 0,-1 0-1 0 0,1 0 1 0 0,0-1-1 0 0,0 1 1 0 0,0-1-1 0 0,0 3 1 0 0,0-4-582 0 0,0 0-1 0 0,0 0 1 0 0,0 1 0 0 0,1-1-1 0 0,-1 0 1 0 0,0 0 0 0 0,0 0-1 0 0,0 0 1 0 0,0 0 0 0 0,1 1 0 0 0,-1-1-1 0 0,0 0 1 0 0,0 0 0 0 0,0 0-1 0 0,1 0 1 0 0,-1 0 0 0 0,0 0-1 0 0,0 0 1 0 0,0 0 0 0 0,0 0 0 0 0,0 0-1 0 0,0 0 1 0 0,0 0 0 0 0,0 0-1 0 0,1 0 1 0 0,-1 0 0 0 0,0 0-1 0 0,1 0 1 0 0</inkml:trace>
</inkml:ink>
</file>

<file path=ppt/ink/ink2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 9154 0 0,'0'0'482'0'0,"0"1"0"0"0,-1-1 1 0 0,1 1-1 0 0,0 0 0 0 0,-1-1 0 0 0,1 0 0 0 0,0 0 1 0 0,0 1-1 0 0,-1-1 0 0 0,1 1 0 0 0,0 0 0 0 0,0-1 1 0 0,0 1-1 0 0,0 0 0 0 0,0-1 0 0 0,0 1 0 0 0,0-1 1 0 0,0 0-1 0 0,0 1 0 0 0,0 0 0 0 0,0-1 0 0 0,0 1 1 0 0,0-1-1 0 0,0 1 0 0 0,1 0 0 0 0,-1-1 1 0 0,0 1-1 0 0,1-1 0 0 0,-1 1 0 0 0,0-1 0 0 0,1 1 1 0 0,2 2-1731 0 0,1-2-4086 0 0</inkml:trace>
</inkml:ink>
</file>

<file path=ppt/ink/ink2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0 11634 0 0,'-1'2'671'0'0,"0"-1"-1"0"0,0 1 1 0 0,0 0-1 0 0,0 0 1 0 0,-1 0-1 0 0,1 0 1 0 0,1 1-1 0 0,0-2 0 0 0,-1 2 1 0 0,1-1-1 0 0,-1 0 1 0 0,1 0-1 0 0,0 0 1 0 0,-1 0-1 0 0,1 1 1 0 0,1-2-1 0 0,-1 6 0 0 0,1-7-731 0 0,-1 0 0 0 0,0 0 0 0 0,1 0-1 0 0,-1 0 1 0 0,0 1 0 0 0,0-1 0 0 0,0 0-1 0 0,0 0 1 0 0,1 0 0 0 0,-1 1-1 0 0,1-1 1 0 0,-1 0 0 0 0,0 0 0 0 0,1 0-1 0 0,-1 0 1 0 0,1 0 0 0 0,-1 0 0 0 0,1 0-1 0 0,-1 0 1 0 0,0 0 0 0 0,1 0 0 0 0,-1 0-1 0 0,0 0 1 0 0,0 0 0 0 0,1 0 0 0 0,11-2-3098 0 0,-10 1 2844 0 0,5-1-197 0 0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4 5065 0 0,'-2'-4'11282'0'0,"14"7"-9376"0"0,0 1-1 0 0,16 6 0 0 0,-16-5-1252 0 0,0 0 0 0 0,24 4 0 0 0,-33-10-1305 0 0,-3-1-2994 0 0</inkml:trace>
</inkml:ink>
</file>

<file path=ppt/ink/ink2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0 0 14027 0 0,'-3'3'616'0'0,"2"-3"136"0"0,-1 2-600 0 0,0-1-152 0 0,1 0 0 0 0,1 0 0 0 0,-1 0 464 0 0,1 1 65 0 0,-3 1 15 0 0,1 1 0 0 0,1 0-312 0 0,-1 0-56 0 0,1-2-16 0 0,1 2 0 0 0,1-2-160 0 0,1 0 0 0 0</inkml:trace>
</inkml:ink>
</file>

<file path=ppt/ink/ink2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34 888 0 0,'-3'-4'22276'0'0,"8"4"-17714"0"0,2-1-6416 0 0,19-11 2770 0 0,-22 9-1319 0 0,1 0 1 0 0,-1 1 0 0 0,0 0 0 0 0,1-1 0 0 0,8 0 0 0 0,-12 3 128 0 0,-1 0 1 0 0,0 0 0 0 0,1 0-1 0 0,-1 0 1 0 0,0 0-1 0 0,1 0 1 0 0,-1 0 0 0 0,0 0-1 0 0,1 0 1 0 0,-1 0 0 0 0,0 0-1 0 0,1 1 1 0 0,-1-1 0 0 0,0 0-1 0 0,0 0 1 0 0,0 0 0 0 0,0 1-1 0 0,0-1 1 0 0,1 0 0 0 0,-1 0-1 0 0,0 1 1 0 0,0-1 0 0 0,1 0-1 0 0,-1 0 1 0 0,-1 3-40 0 0,0 0 313 0 0</inkml:trace>
</inkml:ink>
</file>

<file path=ppt/ink/ink2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6 3 2881 0 0,'-3'-3'9495'0'0,"3"3"-9263"0"0,-8 3 4237 0 0,-5 3-1543 0 0,13-6-2478 0 0,-29 14 3117 0 0,22-11-3607 0 0,0-1 0 0 0,0 2 0 0 0,1-1 0 0 0,-7 5 0 0 0,10-5-2130 0 0,12-5-12388 0 0</inkml:trace>
</inkml:ink>
</file>

<file path=ppt/ink/ink2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11 1840 0 0,'-2'-6'5536'0'0,"1"1"2852"0"0,-1 13-4512 0 0,1 11-1920 0 0,4 33 0 0 0,0-14-1013 0 0,0 5 340 0 0,-1-26-1146 0 0,0 0 0 0 0,-3 29 1 0 0,1-45-207 0 0,-2 9-517 0 0,0-5-2816 0 0</inkml:trace>
</inkml:ink>
</file>

<file path=ppt/ink/ink2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6 1352 0 0,'-3'-6'12273'0'0,"4"9"-8350"0"0,0 16-627 0 0,6 61 1726 0 0,0 27-4336 0 0,-6-60-567 0 0,1-29-608 0 0,-2 22 0 0 0,-1-35-317 0 0,0 3-4211 0 0</inkml:trace>
</inkml:ink>
</file>

<file path=ppt/ink/ink2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27 2881 0 0,'-8'-4'20902'0'0,"17"-2"-16273"0"0,10-2-7060 0 0,-15 6 4016 0 0,1 0-1664 0 0,-2 1-88 0 0,-1 0-1 0 0,1 1 1 0 0,-1-1-1 0 0,1 1 1 0 0,0-1-1 0 0,0 1 0 0 0,3-1 1 0 0</inkml:trace>
</inkml:ink>
</file>

<file path=ppt/ink/ink2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26 5617 0 0,'-2'0'16643'0'0,"17"-5"-12163"0"0,21-7-4126 0 0,8 3-1861 0 0,-42 9 421 0 0</inkml:trace>
</inkml:ink>
</file>

<file path=ppt/ink/ink2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 12211 0 0,'-2'7'2539'0'0,"0"1"1"0"0,0-1-1 0 0,0 11 1 0 0,2-9-1657 0 0,-1 1-1 0 0,2-1 1 0 0,-1 1-1 0 0,3 14 1 0 0,-3-24-914 0 0,0 1 1 0 0,0-1 0 0 0,0 0-1 0 0,0 1 1 0 0,0-1-1 0 0,1 1 1 0 0,-1-1 0 0 0,0 1-1 0 0,0-1 1 0 0,0 1 0 0 0,1 0-1 0 0,-1-1 1 0 0,0 1-1 0 0,1-1 1 0 0,-1 0 0 0 0,0 0-1 0 0,1 0 1 0 0,-1 1 0 0 0,1 0-1 0 0,-1-2-154 0 0,0 1 0 0 0,1 0 0 0 0,-1-1 0 0 0,0 1 0 0 0,1 0 0 0 0,-1 0 0 0 0,1-1 0 0 0,-1 1 0 0 0,0-1 0 0 0,1 1 0 0 0,-1-1 0 0 0,0 1 0 0 0,0-1 0 0 0,1 1 0 0 0,-1-1 0 0 0,0 1 0 0 0,0-1 1 0 0,0 0-1 0 0,2-4-190 0 0</inkml:trace>
</inkml:ink>
</file>

<file path=ppt/ink/ink2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9154 0 0,'8'27'11926'0'0,"-7"-19"-10877"0"0,0 1-1 0 0,1 14 0 0 0,-2-20-1940 0 0</inkml:trace>
</inkml:ink>
</file>

<file path=ppt/ink/ink2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1 1352 0 0,'-6'3'16535'0'0,"9"-3"-12372"0"0,19-3-1108 0 0,-21 3-3045 0 0,0-1 0 0 0,0 1-1 0 0,0 0 1 0 0,0 0 0 0 0,0 0-1 0 0,1 0 1 0 0,-1 1-1 0 0,-1-1 1 0 0,2 0 0 0 0,-1 0-1 0 0,0 1 1 0 0,0-1 0 0 0,0 1-1 0 0,0-1 1 0 0,0 0-1 0 0,0 1 1 0 0,0-1 0 0 0,0 1-1 0 0,0 0 1 0 0,0 0 0 0 0,-1-1-1 0 0,1 1 1 0 0,0 0 0 0 0,-1-1-1 0 0,1 1 1 0 0,0 0-1 0 0,0 0 1 0 0,-1 1 0 0 0,1-1-1 0 0,-1 0 1 0 0,0-1 0 0 0,0 1-1 0 0,1 2 1 0 0,1 4 4 0 0,0 0-1 0 0,-1 0 1 0 0,-1 0 0 0 0,1 11 0 0 0,0 0 355 0 0,2 6-225 0 0,-1 0-1 0 0,-2 0 1 0 0,0 0 0 0 0,-4 25 0 0 0,3-42-134 0 0,-7 70 368 0 0,8-65-316 0 0,0 1-1 0 0,0-1 1 0 0,2 1-1 0 0,2 13 1 0 0,-1-10-41 0 0,-3-16-21 0 0,0 0 1 0 0,0 1-1 0 0,0-1 1 0 0,0 0-1 0 0,0 0 1 0 0,0 0 0 0 0,0 0-1 0 0,0 0 1 0 0,0 0-1 0 0,0 0 1 0 0,0 0-1 0 0,0 0 1 0 0,0 0-1 0 0,0 0 1 0 0,0 0-1 0 0,0 0 1 0 0,0 1-1 0 0,0-1 1 0 0,0 0-1 0 0,-1 0 1 0 0,1 0-1 0 0,0 0 1 0 0,0 0-1 0 0,0 0 1 0 0,0 0 0 0 0,0 0-1 0 0,0 0 1 0 0,0 0-1 0 0,0 0 1 0 0,0 0-1 0 0,0 0 1 0 0,0 0-1 0 0,0 0 1 0 0,-1 0-1 0 0,1 0 1 0 0,0 0-1 0 0,0 0 1 0 0,0 0-1 0 0,0 0 1 0 0,0 0-1 0 0,0 0 1 0 0,0 0 0 0 0,0 0-1 0 0,0 0 1 0 0,0 0-1 0 0,0 0 1 0 0,0 0-1 0 0,-1 0 1 0 0,1 0-1 0 0,0 0 1 0 0,0 0-1 0 0,0 0 1 0 0,0-1-1 0 0,-6-6 43 0 0,-3-5 278 0 0,-6-8-2 0 0,14 19-319 0 0,1 1 0 0 0,-2-1 0 0 0,1 0-1 0 0,0 0 1 0 0,0 0 0 0 0,0 0 0 0 0,0 0 0 0 0,0 1 0 0 0,0 0 0 0 0,-1-1 0 0 0,1 0 0 0 0,0 1 0 0 0,0 0 0 0 0,-3-1 0 0 0,2 1-114 0 0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432 0 0,'2'2'13250'0'0,"3"1"-6738"0"0,4 4-4696 0 0,16 8-4372 0 0,-18-13 4596 0 0,34 14-441 0 0,48 24 0 0 0,-71-32-1272 0 0,0-1 1 0 0,18 4-1 0 0,14 6 189 0 0,55 16-261 0 0,-94-29-244 0 0,89 16 51 0 0,-95-17-257 0 0,-5-3 147 0 0,0 0 0 0 0,0 0 1 0 0,0 0-1 0 0,0 0 0 0 0,0 0 0 0 0,1 0 0 0 0,-1 0 1 0 0,0 0-1 0 0,0 0 0 0 0,0 0 0 0 0,0 0 1 0 0,0 0-1 0 0,0 0 0 0 0,0 0 0 0 0,0 0 0 0 0,0 0 1 0 0,0 1-1 0 0,0-1 0 0 0,0 0 0 0 0,0 0 0 0 0,0 0 1 0 0,0 0-1 0 0,0 0 0 0 0,0 0 0 0 0,0 0 1 0 0,0 0-1 0 0,0 0 0 0 0,0 0 0 0 0,0 0 0 0 0,0 0 1 0 0,0 1-1 0 0,0-1 0 0 0,0 0 0 0 0,0 0 1 0 0,0 0-1 0 0,0 0 0 0 0,0 0 0 0 0,0 0 0 0 0,0 0 1 0 0,0 0-1 0 0,0 0 0 0 0,0 0 0 0 0,0 1 0 0 0,0-1 1 0 0,0 0-1 0 0,0 0 0 0 0,0 0 0 0 0,0 0 1 0 0,0 0-1 0 0,0 0 0 0 0,0 0 0 0 0,0 0 0 0 0,0 0 1 0 0,0 0-1 0 0,0 0 0 0 0,0 0 0 0 0,0 0 1 0 0,0 0-1 0 0</inkml:trace>
</inkml:ink>
</file>

<file path=ppt/ink/ink2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2881 0 0,'0'0'213'0'0,"1"0"-94"0"0,-2 6 9864 0 0,3 13-8161 0 0,-1-15-653 0 0,1 234 1016 0 0,-4-120-1505 0 0,2-38-218 0 0,1 121 1445 0 0,4 181 1466 0 0,-5-318-3178 0 0,-2 16 278 0 0,3 72 783 0 0,5-67-1288 0 0,-1 59 72 0 0,-1 46-11 0 0,1-72 2 0 0,-5 86 45 0 0,0-161-137 0 0,-1 22-54 0 0,0-15 100 0 0,1-35 2 0 0,0-1 0 0 0,-4 24 0 0 0,4-32-67 0 0,-1 1-1 0 0,1-1 0 0 0,1 11 0 0 0,-1-11 23 0 0,0-1 0 0 0,0 0 0 0 0,0 1-1 0 0,0-1 1 0 0,-1 1 0 0 0,-1 5 0 0 0,0-3 17 0 0,1-2 0 0 0,1 1 0 0 0,-1 1 0 0 0,1 13 1 0 0,0 9-53 0 0,-1-15-1699 0 0,3 27-1 0 0,1-1-3491 0 0</inkml:trace>
</inkml:ink>
</file>

<file path=ppt/ink/ink2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0 3369 0 0,'-1'3'772'0'0,"1"-2"0"0"0,0 2 0 0 0,0-1 0 0 0,0 0 0 0 0,0 0 0 0 0,0 1 0 0 0,1 3 0 0 0,0 14 1946 0 0,0 1 1 0 0,-2 29-1 0 0,1 0 450 0 0,-3 103-3203 0 0,0-76 120 0 0,2-27 1272 0 0,-1 10-8 0 0,9 99 0 0 0,1 19-708 0 0,-7-115-514 0 0,-2 76-96 0 0,-1-41-13 0 0,11 156 1086 0 0,-8-203-1016 0 0,3 17-87 0 0,3 143 486 0 0,0-55-175 0 0,-1 1 0 0 0,-11-11-449 0 0,3-92 106 0 0,-3 47-97 0 0,5-95 125 0 0,-2 92-253 0 0,1-89 254 0 0,1 0-209 0 0,-1-2 0 0 0,0 2 0 0 0,-3 12 1 0 0,1-18-2327 0 0,3-1 1025 0 0</inkml:trace>
</inkml:ink>
</file>

<file path=ppt/ink/ink2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0 0 432 0 0,'0'1'293'0'0,"-5"7"11786"0"0,-4 2-5483 0 0,-12 2-2399 0 0,10-11-3250 0 0,10-1-889 0 0,0 0 1 0 0,1 0 0 0 0,-1 0 0 0 0,1 0 0 0 0,0 0-1 0 0,-1 0 1 0 0,0 0 0 0 0,1 0 0 0 0,-1 1-1 0 0,0-1 1 0 0,1 0 0 0 0,-1 0 0 0 0,0 0 0 0 0,1 1-1 0 0,-1-1 1 0 0,1 0 0 0 0,0 0 0 0 0,-1 0 0 0 0,1 0-1 0 0,-1 1 1 0 0,1-1 0 0 0,-1 1 0 0 0,1-1-1 0 0,-1 1 1 0 0,1-1 0 0 0,-1 1 0 0 0,1 0 0 0 0,-1 1-31 0 0,0-1 1 0 0,0 1-1 0 0,0 0 1 0 0,0 0 0 0 0,0 0-1 0 0,0 0 1 0 0,1-1-1 0 0,-1 2 1 0 0,1-1-1 0 0,-1-1 1 0 0,1 2 0 0 0,0 1-1 0 0,-1 2 6 0 0,-8 95 18 0 0,2-10-21 0 0,7-83-17 0 0,-1-5-3 0 0,0-1 0 0 0,1 0 0 0 0,0 0 0 0 0,-1 1 0 0 0,1-2 1 0 0,0 2-1 0 0,0-1 0 0 0,1 0 0 0 0,-1 0 0 0 0,1 1 0 0 0,-1-2 0 0 0,1 2 0 0 0,-1-1 0 0 0,0-1 1 0 0,3 5-1 0 0,1 0 20 0 0,-4-4-11 0 0,1 0 0 0 0,0-1 0 0 0,0 0 0 0 0,1 1 0 0 0,-1-1 1 0 0,-1 1-1 0 0,1-1 0 0 0,1-1 0 0 0,-1 2 0 0 0,3 1 0 0 0,-3-2 18 0 0,1 0-1 0 0,-1 0 1 0 0,0 0 0 0 0,0 0 0 0 0,0 1 0 0 0,0-1 0 0 0,0 0-1 0 0,0 0 1 0 0,-1 1 0 0 0,1 0 0 0 0,1 1 0 0 0,4 7 72 0 0,-6-10-310 0 0,1 0 0 0 0,-1 0 0 0 0,0 0 0 0 0,1 0 0 0 0,-1 0 0 0 0,0 0 0 0 0,1-1 1 0 0,-1 1-1 0 0,0 0 0 0 0,1-1 0 0 0,-1 1 0 0 0,0 0 0 0 0,0 0 0 0 0,0-1 0 0 0,0 1 0 0 0,0-1 0 0 0,0 1 0 0 0,0 0 0 0 0,0-1 0 0 0,1 1 1 0 0,-1-1-1 0 0</inkml:trace>
</inkml:ink>
</file>

<file path=ppt/ink/ink2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3 29 1840 0 0,'0'-10'854'0'0,"-1"0"2726"0"0,2 1 5909 0 0,-2 16-3744 0 0,2 7-3884 0 0,0-2-1073 0 0,-1 113 831 0 0,0 22 139 0 0,0-126-1758 0 0,0-15 0 0 0,-1 0 0 0 0,2 0 0 0 0,-1 0 0 0 0,1-1 0 0 0,2 10 0 0 0,-8-15-52 0 0,1 0 0 0 0,1 0 1 0 0,-2 0-1 0 0,-5-1 0 0 0,7 0 45 0 0,-1 0-1 0 0,1 0 0 0 0,-2 1 1 0 0,2-1-1 0 0,-1-1 0 0 0,-4-2 1 0 0,7 4 26 0 0</inkml:trace>
</inkml:ink>
</file>

<file path=ppt/ink/ink2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7 5065 0 0,'0'-1'11878'0'0,"-1"-4"-5520"0"0,2 18-5621 0 0,1 1-1 0 0,-1-1 1 0 0,6 16 0 0 0,1 9-435 0 0,4 36-110 0 0,26 186-2 0 0,-38-256-771 0 0,-2-6-2014 0 0,1 0 1564 0 0</inkml:trace>
</inkml:ink>
</file>

<file path=ppt/ink/ink2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1 13 3369 0 0,'7'-12'12635'0'0,"-4"12"-8175"0"0,-4 7-1975 0 0,-13 89 1620 0 0,-6 131-2556 0 0,20-195-1441 0 0,0-20-338 0 0,0 0 1 0 0,-3 24-1 0 0,3-36 185 0 0,0 0 1 0 0,0 0-1 0 0,0 0 0 0 0,0 0 1 0 0,0 0-1 0 0,0 0 0 0 0,0 0 1 0 0,0 0-1 0 0,0 0 1 0 0,0 0-1 0 0,0 0 0 0 0,0 0 1 0 0,0 0-1 0 0,0 1 0 0 0,0-1 1 0 0,0 0-1 0 0,0 0 0 0 0,0 0 1 0 0,0 0-1 0 0,0 0 0 0 0,0 0 1 0 0,0 0-1 0 0,0 0 0 0 0,0 0 1 0 0,0 0-1 0 0,0 0 1 0 0,0 0-1 0 0,0 1 0 0 0,0-1 1 0 0,0 0-1 0 0,0 0 0 0 0,0 0 1 0 0,0 0-1 0 0,0 0 0 0 0,0 0 1 0 0,-1 0-1 0 0,1 0 0 0 0,0 0 1 0 0,0 0-1 0 0,0 0 0 0 0,0 0 1 0 0,0 0-1 0 0,0 0 1 0 0,0 0-1 0 0,0 0 0 0 0,0 0 1 0 0,0 0-1 0 0,0 0 0 0 0,0 0 1 0 0,-1 0-1 0 0,1 0 0 0 0,0 0 1 0 0,0 0-1 0 0,0 0 0 0 0,0 0 1 0 0,0 0-1 0 0,0 0 0 0 0,0 0 1 0 0,0 0-1 0 0,0 0 1 0 0,0 0-1 0 0,0 0 0 0 0,0 0 1 0 0,-1 0-1 0 0,1 0 0 0 0,0 0 1 0 0,0 0-1 0 0,0-1 0 0 0</inkml:trace>
</inkml:ink>
</file>

<file path=ppt/ink/ink2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5 4401 0 0,'0'1'814'0'0,"0"-1"-1"0"0,0 1 1 0 0,0-1 0 0 0,0 0-1 0 0,1 1 1 0 0,1 4 8950 0 0,-1-5-8950 0 0,11 6 5169 0 0,15 0-5754 0 0,-20-5 904 0 0,-4 0-1134 0 0,8 2 219 0 0,0-1-1 0 0,0-1 0 0 0,1 0 0 0 0,18 0 1 0 0,-26-2-357 0 0,-2 1-1 0 0,2-1 1 0 0,-1 0 0 0 0,0 1 0 0 0,0-1 0 0 0,1 0 0 0 0,-2-1 0 0 0,2 1 0 0 0,-2-1 0 0 0,1 1 0 0 0,0-1 0 0 0,0 0-1 0 0,0 0 1 0 0,-1 0 0 0 0,0-1 0 0 0,1 2 0 0 0,-1-2 0 0 0,0 1 0 0 0,0-1 0 0 0,3-6 0 0 0,-2 5-8981 0 0</inkml:trace>
</inkml:ink>
</file>

<file path=ppt/ink/ink2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 432 0 0,'2'-2'15521'0'0,"-3"7"-9459"0"0,0 2-4960 0 0,4 65 2298 0 0,-4 36-2964 0 0,0-21-399 0 0,0-6 106 0 0,4 118 229 0 0,0-129-2945 0 0,-2-69 1747 0 0,-1-2-163 0 0</inkml:trace>
</inkml:ink>
</file>

<file path=ppt/ink/ink2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 5065 0 0,'0'4'10401'0'0,"-3"7"-5039"0"0,7 180 1898 0 0,-4 131-7543 0 0,-1-311-893 0 0,0-10-1481 0 0,1-2 2634 0 0</inkml:trace>
</inkml:ink>
</file>

<file path=ppt/ink/ink2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8 5065 0 0,'3'-3'19212'0'0,"11"3"-14561"0"0,20 3-7389 0 0,-31-2 4227 0 0,16 0-1457 0 0,39 3 47 0 0,-49-4-76 0 0,-2 0 0 0 0,1-1 1 0 0,0 0-1 0 0,0-1 1 0 0,9-2-1 0 0,-17 4-80 0 0,1 0 0 0 0,-1 0 1 0 0,0 0-1 0 0,1 0 0 0 0,-1-1 0 0 0,0 1 0 0 0,0 0 1 0 0,1 0-1 0 0,-1 0 0 0 0,0 0 0 0 0,0 0 1 0 0,0-1-1 0 0,0 1 0 0 0,0 0 0 0 0,0 0 0 0 0,1 0 1 0 0,-1 0-1 0 0,0-1 0 0 0,0 1 0 0 0,0 0 0 0 0,0 0 1 0 0,1 0-1 0 0,-1 0 0 0 0,0 0 0 0 0,0 0 1 0 0,0-1-1 0 0,0 1 0 0 0,0 0 0 0 0,0-1 0 0 0,0 1 1 0 0,0 0-1 0 0,0-1 0 0 0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5 43 1944 0 0,'0'-4'123'0'0,"0"-1"0"0"0,0 0-1 0 0,-1 0 1 0 0,0 1 0 0 0,0 0 0 0 0,-1-2-1 0 0,0-3 1 0 0,1 9-30 0 0,1 1-1 0 0,0-1 1 0 0,0 0-1 0 0,0 0 1 0 0,0 0-1 0 0,0 0 1 0 0,0 0 0 0 0,0 0-1 0 0,0 0 1 0 0,0 0 370 0 0,0 0-371 0 0,0 0 1 0 0,0 0-1 0 0,0 1 1 0 0,0-1 0 0 0,0 0-1 0 0,0 0 1 0 0,-1 0-1 0 0,1 0 1 0 0,0 0-1 0 0,0 0 1 0 0,0 0 0 0 0,0 0-1 0 0,0 0 1 0 0,0 0-1 0 0,0 0 1 0 0,0 0 0 0 0,0 0-1 0 0,0 0 1 0 0,0 0-1 0 0,0 0 1 0 0,0 0-1 0 0,-1 0 1 0 0,1 0 0 0 0,0 0-1 0 0,0 0 1 0 0,0 0-1 0 0,0 0 1 0 0,0 0-1 0 0,0-1 1 0 0,0 1 0 0 0,0 0 370 0 0,0 0-371 0 0,0 0 1 0 0,0 0-1 0 0,-1 0 1 0 0,1 0-1 0 0,0 0 1 0 0,0 0 0 0 0,0 0-1 0 0,0 0 1 0 0,0 0-1 0 0,0 0 1 0 0,0-1-1 0 0,0 1 1 0 0,0 0 0 0 0,0 0-1 0 0,0 0 1 0 0,0 0-1 0 0,-1 9 2706 0 0,0 10-421 0 0,3 124 1752 0 0,-3-41-3274 0 0,-1 1-1009 0 0,2 23 73 0 0,3-56 95 0 0,-1-12 21 0 0,11 63 0 0 0,-4-25 514 0 0,-1-3 782 0 0,-3-55-596 0 0,-7-27-8416 0 0</inkml:trace>
</inkml:ink>
</file>

<file path=ppt/ink/ink2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59 7858 0 0,'2'-3'17184'0'0,"10"-12"-16119"0"0,-5 6-1185 0 0,-5 5-157 0 0,1 0 0 0 0,-1 0 1 0 0,1 0-1 0 0,5-3 1 0 0,-6 6 380 0 0,-2 0 0 0 0,1 0 0 0 0,1 0 0 0 0,-1 0 0 0 0,0 0 0 0 0,0 1 1 0 0,1 0-1 0 0,-1-1 0 0 0,1 1 0 0 0,-1-1 0 0 0,0 1 0 0 0,0 0 0 0 0,1 0 0 0 0,0-1 0 0 0,-2 1 0 0 0,2 0 0 0 0,0 0 1 0 0,1 1-1 0 0,26 2 196 0 0,39-1 0 0 0,-67 1-255 0 0,0-2 1 0 0,-1 1-1 0 0,1 1 1 0 0,-1-2-1 0 0,0 2 1 0 0,1-1-1 0 0,-1 0 1 0 0,0 3-1 0 0,0-1 27 0 0,1 9-68 0 0,-1-11-5 0 0,-1-1 0 0 0,1 1 0 0 0,0 0 0 0 0,0 0 0 0 0,0 0 0 0 0,1 0 0 0 0,-1-1 0 0 0,1 1 1 0 0,-1 0-1 0 0,1 0 0 0 0,-1-1 0 0 0,1 1 0 0 0,0 0 0 0 0,-1 0 0 0 0,1-1 0 0 0,2 4 0 0 0,-2-5-388 0 0</inkml:trace>
</inkml:ink>
</file>

<file path=ppt/ink/ink2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48 6193 0 0,'1'-1'9687'0'0,"0"-4"-4925"0"0,0-12-4041 0 0,-1 15 465 0 0,1-14-654 0 0,2 1 0 0 0,-1-1 0 0 0,1 1 0 0 0,8-20 0 0 0,-11 33-505 0 0,1 1 1 0 0,0-1-1 0 0,0 0 0 0 0,1 1 0 0 0,-2 0 0 0 0,1-1 0 0 0,0 1 0 0 0,1-1 0 0 0,-1 1 0 0 0,0 0 0 0 0,0 0 1 0 0,1 0-1 0 0,0 0 0 0 0,-1 0 0 0 0,0 0 0 0 0,1 0 0 0 0,0 1 0 0 0,0-1 0 0 0,-1 1 0 0 0,1-1 1 0 0,0 1-1 0 0,-1-1 0 0 0,1 1 0 0 0,0 0 0 0 0,0 0 0 0 0,-1 0 0 0 0,1 0 0 0 0,0 0 0 0 0,0 0 0 0 0,-1 0 1 0 0,1 1-1 0 0,0-1 0 0 0,-1 1 0 0 0,1-1 0 0 0,0 1 0 0 0,0-1 0 0 0,-1 1 0 0 0,0 0 0 0 0,1 0 0 0 0,0 0 1 0 0,-2 0-1 0 0,2 0 0 0 0,0 0 0 0 0,-1 0 0 0 0,0 1 0 0 0,0-1 0 0 0,0 1 0 0 0,0-1 0 0 0,0 0 0 0 0,1 1 1 0 0,-1 0-1 0 0,0 2 0 0 0,2 3-222 0 0,-1 1 0 0 0,0-1 1 0 0,0 0-1 0 0,-1 1 0 0 0,0 0 1 0 0,0 14-1 0 0,-5 48-3674 0 0,1-36 1096 0 0</inkml:trace>
</inkml:ink>
</file>

<file path=ppt/ink/ink2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203 9674 0 0,'-2'-4'9241'0'0,"1"-3"-5940"0"0,1-6-2813 0 0,0 12-54 0 0,0-14-254 0 0,2 0 0 0 0,-1 2 1 0 0,7-24-1 0 0,-6 30-142 0 0,1 0 1 0 0,-1 0-1 0 0,2 0 1 0 0,-2 0-1 0 0,2 1 1 0 0,0 0-1 0 0,0 0 1 0 0,1 0-1 0 0,4-5 1 0 0,-2 3 85 0 0,-5 5-123 0 0,0 1 0 0 0,0 0 0 0 0,1-1 0 0 0,-1 1 0 0 0,4-2 0 0 0,-5 4-7 0 0,-1-1 1 0 0,1 1-1 0 0,0-1 1 0 0,0 1-1 0 0,-1 0 0 0 0,1-1 1 0 0,0 1-1 0 0,1 0 1 0 0,-1 0-1 0 0,0 0 0 0 0,-1 0 1 0 0,1 0-1 0 0,0 0 1 0 0,0 0-1 0 0,0 0 0 0 0,0 0 1 0 0,0 0-1 0 0,0 0 1 0 0,-1 1-1 0 0,1-1 0 0 0,0 0 1 0 0,2 2-1 0 0,-2-2 63 0 0,1 2 0 0 0,0-1-1 0 0,0 1 1 0 0,-2-1 0 0 0,2 1 0 0 0,-1 0-1 0 0,1 0 1 0 0,-1-1 0 0 0,-1 1 0 0 0,2 0-1 0 0,-1 0 1 0 0,0-1 0 0 0,0 2 0 0 0,-1-1-1 0 0,1-1 1 0 0,0 2 0 0 0,-1-1 0 0 0,0 0-1 0 0,0 3 1 0 0,1 7 185 0 0,0 0 0 0 0,-2 13 0 0 0,1-24-198 0 0,-2 34 324 0 0,-10 48 0 0 0,12-82-2531 0 0</inkml:trace>
</inkml:ink>
</file>

<file path=ppt/ink/ink2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7 179 3369 0 0,'-4'2'9810'0'0,"0"-3"-3368"0"0,-1-9-883 0 0,2-15-4269 0 0,3 19-1320 0 0,0 0 0 0 0,1 0 1 0 0,0 0-1 0 0,0 0 0 0 0,0 0 1 0 0,1 0-1 0 0,3-8 0 0 0,20-39-865 0 0,-20 46 934 0 0,-5 5-105 0 0,1 0 0 0 0,1 0 0 0 0,-1 0 0 0 0,1 0 1 0 0,-2 0-1 0 0,2 1 0 0 0,0-1 0 0 0,0 0 0 0 0,-1 1 0 0 0,1 0 0 0 0,0 0 0 0 0,0-1 0 0 0,0 1 0 0 0,0-1 0 0 0,0 2 0 0 0,4-2 1 0 0,-5 2 65 0 0,0-1 0 0 0,1 1 1 0 0,-1 0-1 0 0,0 0 1 0 0,0 0-1 0 0,0 0 0 0 0,1 0 1 0 0,-1 0-1 0 0,0 1 1 0 0,0-1-1 0 0,0 0 0 0 0,1 1 1 0 0,-1-1-1 0 0,0 1 1 0 0,0-1-1 0 0,0 0 1 0 0,0 1-1 0 0,0-1 0 0 0,0 1 1 0 0,0 0-1 0 0,0 0 1 0 0,0 0-1 0 0,0 0 0 0 0,-1-1 1 0 0,1 1-1 0 0,0 0 1 0 0,0 0-1 0 0,0 0 1 0 0,-1 1-1 0 0,0-1 0 0 0,1-1 1 0 0,0 4-1 0 0,2 2 196 0 0,-2 0-1 0 0,1 0 0 0 0,-1 0 1 0 0,1 1-1 0 0,-1-1 0 0 0,-1 1 1 0 0,1-1-1 0 0,-1 1 0 0 0,-2 11 1 0 0,-2 3 225 0 0,-8 34-1 0 0,11-51-104 0 0,-1-1-1722 0 0</inkml:trace>
</inkml:ink>
</file>

<file path=ppt/ink/ink2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24 5065 0 0,'-3'-2'12806'0'0,"3"-5"-8797"0"0,1-5-3358 0 0,0 5-567 0 0,0 1-1 0 0,-1-1 0 0 0,2 1 0 0 0,0-1 0 0 0,0 1 0 0 0,0 0 0 0 0,1 0 0 0 0,4-8 0 0 0,-5 11-28 0 0,0 1-1 0 0,1-2 0 0 0,-1 2 0 0 0,0-1 0 0 0,0 2 0 0 0,2-2 0 0 0,-1 0 1 0 0,-1 2-1 0 0,2-1 0 0 0,-2-1 0 0 0,2 2 0 0 0,-1 0 0 0 0,0-1 0 0 0,0 1 1 0 0,1-1-1 0 0,6 1 0 0 0,-9 0-99 0 0,0 1 0 0 0,1-1 0 0 0,-1 1 0 0 0,1 0 0 0 0,-1 0 1 0 0,0 0-1 0 0,1 0 0 0 0,0 0 0 0 0,0 0 0 0 0,-2 0 0 0 0,2 1 0 0 0,0-1 0 0 0,-1 1 0 0 0,0-1 1 0 0,0 1-1 0 0,1-1 0 0 0,0 0 0 0 0,-1 1 0 0 0,0 0 0 0 0,0 0 0 0 0,0 0 0 0 0,1 0 0 0 0,-1 0 1 0 0,-1-1-1 0 0,1 1 0 0 0,0 1 0 0 0,1-1 0 0 0,0 2 0 0 0,-1 0 66 0 0,0 0 0 0 0,1 0 0 0 0,-1 0 0 0 0,0 0 0 0 0,0 0 0 0 0,-1 1 0 0 0,1-1 0 0 0,-1 1 0 0 0,0-1 0 0 0,1 1 0 0 0,-2 3 0 0 0,-3 44 1902 0 0,3-45-1703 0 0,0-1-1 0 0,0 0 1 0 0,0-1-1 0 0,-1 1 1 0 0,0 1 0 0 0,0-1-1 0 0,-4 6 1 0 0,6-11-263 0 0,0 0 0 0 0,0 1 1 0 0,0-1-1 0 0,0 0 0 0 0,-1 0 1 0 0,1 0-1 0 0,0 0 0 0 0,0 0 1 0 0,0 0-1 0 0,0 1 1 0 0,0-1-1 0 0,0 0 0 0 0,0 0 1 0 0,0 0-1 0 0,0 0 0 0 0,-1 0 1 0 0,1 0-1 0 0,0 0 0 0 0,0 0 1 0 0,0 0-1 0 0,0 0 0 0 0,0 0 1 0 0,0 0-1 0 0,0 0 0 0 0,-1 0 1 0 0,1 0-1 0 0,0 0 0 0 0,0 0 1 0 0,0 0-1 0 0,0 0 0 0 0,0 0 1 0 0,-1 0-1 0 0,1 0 0 0 0,0 0 1 0 0,0 0-1 0 0,0 0 0 0 0,0 0 1 0 0,0 0-1 0 0,0 0 1 0 0,-1 0-1 0 0,1 0 0 0 0,0 0 1 0 0,0 0-1 0 0,0 0 0 0 0,0 0 1 0 0,0 0-1 0 0,0 0 0 0 0,0 0 1 0 0,0-1-1 0 0,-1 1 0 0 0,1 0 1 0 0,0 0-1 0 0,0 0 0 0 0,0 0 1 0 0,0 0-1 0 0,0 0 0 0 0,0 0 1 0 0,0-1-1 0 0,0 1 0 0 0,0 0 1 0 0,0 0-1 0 0,0 0 0 0 0,0 0 1 0 0</inkml:trace>
</inkml:ink>
</file>

<file path=ppt/ink/ink2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82 5065 0 0,'-1'0'623'0'0,"1"-1"1"0"0,0 1-1 0 0,0-1 1 0 0,-1 1-1 0 0,1-1 0 0 0,0 1 1 0 0,-1 0-1 0 0,1-1 1 0 0,0 1-1 0 0,0-1 0 0 0,-1 1 1 0 0,1-1-1 0 0,0 0 1 0 0,0 1-1 0 0,0-1 0 0 0,0 0 1 0 0,0 1-1 0 0,0 0 1 0 0,0-1-1 0 0,0 1 0 0 0,0-1 1 0 0,0 0-1 0 0,1-1 9 0 0,-1 1-1 0 0,1-1 0 0 0,0 1 1 0 0,-1-1-1 0 0,0 0 1 0 0,1 2-1 0 0,0-2 0 0 0,2-1 1 0 0,1-2-377 0 0,1 0 0 0 0,10-8-1 0 0,-13 10 62 0 0,3 0-346 0 0,0 0 1 0 0,0 0 0 0 0,0 0-1 0 0,0 0 1 0 0,1 1-1 0 0,-1 0 1 0 0,1 0 0 0 0,8-2-1 0 0,-11 3-18 0 0,1 1-1 0 0,0-1 1 0 0,0 0-1 0 0,0 1 1 0 0,0 0-1 0 0,0 0 0 0 0,0 0 1 0 0,0 1-1 0 0,-1 0 1 0 0,2-1-1 0 0,-2 1 1 0 0,2 0-1 0 0,3 3 0 0 0,-6-3 63 0 0,-1-1 0 0 0,0 0 0 0 0,-1 1 0 0 0,2 0 0 0 0,-1 0 0 0 0,0 0 0 0 0,0 0 0 0 0,0 0 0 0 0,-1 0 0 0 0,1-1 0 0 0,-1 1 0 0 0,1 1 0 0 0,0-1 0 0 0,0 0 0 0 0,-1 0 0 0 0,1 0 0 0 0,-1 0 0 0 0,1 3 0 0 0,0-3 54 0 0,-1 2 0 0 0,0-1 1 0 0,0 1-1 0 0,0 0 0 0 0,0-1 1 0 0,0 1-1 0 0,-1-1 0 0 0,0 5 1 0 0,-1-2 44 0 0,-1 1 0 0 0,2 0 0 0 0,-2-1 0 0 0,1-1 0 0 0,-1 1 0 0 0,0 1 0 0 0,-5 5 0 0 0,-5 4-2041 0 0,-8 9-5810 0 0</inkml:trace>
</inkml:ink>
</file>

<file path=ppt/ink/ink2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37 1840 0 0,'-8'-1'19584'0'0,"10"-1"-16968"0"0,19-12-956 0 0,-7 9-1568 0 0,0 0 0 0 0,26-3 0 0 0,-39 7-89 0 0,0 1 1 0 0,1 0-1 0 0,0-1 0 0 0,-1 1 0 0 0,1 0 0 0 0,0 0 1 0 0,-1 0-1 0 0,0 0 0 0 0,1 1 0 0 0,0-1 0 0 0,-1 0 1 0 0,1 1-1 0 0,0-1 0 0 0,-1 1 0 0 0,1-1 0 0 0,-1 0 1 0 0,0 1-1 0 0,1 0 0 0 0,0 0 0 0 0,-2 0 0 0 0,2 0 0 0 0,-1 0 1 0 0,1 0-1 0 0,-1 0 0 0 0,-1 1 0 0 0,1-1 0 0 0,1 1 1 0 0,-1-2-1 0 0,0 2 0 0 0,0-1 0 0 0,-1 1 0 0 0,0-1 1 0 0,1 0-1 0 0,0 1 0 0 0,0 2 0 0 0,0 1 26 0 0,0-2 0 0 0,0 1-1 0 0,-1 0 1 0 0,0 0 0 0 0,0 0 0 0 0,0 0-1 0 0,0 0 1 0 0,-1 0 0 0 0,1 0 0 0 0,-1-1-1 0 0,-1 2 1 0 0,1-2 0 0 0,-3 8 0 0 0,1-5 134 0 0,0-1 0 0 0,0 0 0 0 0,-6 6 0 0 0,8-9-145 0 0,-1 0-1 0 0,1-1 1 0 0,0 1-1 0 0,-1-1 1 0 0,0 1-1 0 0,1-2 1 0 0,-1 2-1 0 0,0-1 1 0 0,0 0-1 0 0,1 0 1 0 0,-1 0-1 0 0,-1-1 1 0 0,-1 2-1 0 0,3-3-2588 0 0</inkml:trace>
</inkml:ink>
</file>

<file path=ppt/ink/ink2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 9 5617 0 0,'0'-5'15908'0'0,"8"2"-11184"0"0,12 2-4181 0 0,-16 1-544 0 0,-2 0 0 0 0,2 0 0 0 0,-2 1 0 0 0,1-1 0 0 0,0 1-1 0 0,0 0 1 0 0,-1-1 0 0 0,1 1 0 0 0,0 0 0 0 0,0 0 0 0 0,0 1 0 0 0,-1-1-1 0 0,0 0 1 0 0,0 1 0 0 0,1 0 0 0 0,0 0 0 0 0,-2-1 0 0 0,2 1-1 0 0,-1 1 1 0 0,-1-2 0 0 0,1 2 0 0 0,0-1 0 0 0,0 0 0 0 0,-1 1 0 0 0,1-1-1 0 0,-1 1 1 0 0,0 0 0 0 0,0 0 0 0 0,0 0 0 0 0,0-1 0 0 0,0 1-1 0 0,-1-1 1 0 0,1 2 0 0 0,-1-2 0 0 0,0 2 0 0 0,0 4 0 0 0,0-6 48 0 0,0 1 1 0 0,0-1-1 0 0,0 1 1 0 0,-1-1-1 0 0,0 1 1 0 0,0 0-1 0 0,1-1 0 0 0,-1 1 1 0 0,0-1-1 0 0,0 0 1 0 0,-1 1-1 0 0,1-1 1 0 0,0 0-1 0 0,-1 1 1 0 0,1-2-1 0 0,-1 2 1 0 0,0-1-1 0 0,0-1 1 0 0,0 1-1 0 0,1 0 0 0 0,-5 1 1 0 0,5-1-7 0 0,-1-1 0 0 0,0 0 0 0 0,0 0 0 0 0,0-1 0 0 0,-1 1 0 0 0,2 0 1 0 0,-2 0-1 0 0,1-1 0 0 0,0 1 0 0 0,0-1 0 0 0,-1 0 0 0 0,2 1 0 0 0,-2-1 0 0 0,0 0 0 0 0,2-1 0 0 0,-2 1 0 0 0,1 0 0 0 0,0-1 1 0 0,-1 0-1 0 0,2 1 0 0 0,-2-1 0 0 0,1 0 0 0 0,0 1 0 0 0,0-1 0 0 0,-3-3 0 0 0,3 3-131 0 0,-1-1 0 0 0,1-1 0 0 0,0 2 1 0 0,0-2-1 0 0,0 1 0 0 0,0 0 0 0 0,0-1 0 0 0,1 0 0 0 0,0 1 0 0 0,-1-1 0 0 0,1 1 0 0 0,-1-2 0 0 0,2 2 1 0 0,-1-1-1 0 0,0 0 0 0 0,0-5 0 0 0,1 7-71 0 0,0 1 1 0 0,0 0-1 0 0,0 0 1 0 0,0-1-1 0 0,0 1 1 0 0,0 0-1 0 0,0-1 1 0 0,1 1-1 0 0,-1 0 1 0 0,0-1-1 0 0,0 1 1 0 0,0 0-1 0 0,1 0 1 0 0,-1 0-1 0 0,0 0 1 0 0,0 0-1 0 0,1 0 1 0 0,-1 0-1 0 0,0-1 1 0 0,0 1-1 0 0,0 0 1 0 0,0 0-1 0 0</inkml:trace>
</inkml:ink>
</file>

<file path=ppt/ink/ink2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3 0 7858 0 0,'4'3'11283'0'0,"3"0"-5514"0"0,1 1-5431 0 0,-1 1 0 0 0,0 0 0 0 0,11 10 0 0 0,-15-10-288 0 0,1-2 1 0 0,-1 1 0 0 0,1 1 0 0 0,-2 0-1 0 0,1-1 1 0 0,-1 1 0 0 0,1 0 0 0 0,0 0-1 0 0,0 7 1 0 0,-2-9 5 0 0,0-2 0 0 0,-1 2 1 0 0,0-1-1 0 0,0 1 0 0 0,1-1 0 0 0,-2 0 0 0 0,1 1 1 0 0,0-1-1 0 0,0 0 0 0 0,-1 1 0 0 0,0-1 0 0 0,1 0 1 0 0,-1 1-1 0 0,0-2 0 0 0,1 2 0 0 0,-2-1 0 0 0,1 0 1 0 0,0 0-1 0 0,-1 0 0 0 0,1 0 0 0 0,0 0 0 0 0,-1 0 1 0 0,0 0-1 0 0,-1 1 0 0 0,1-2-25 0 0,1 0 1 0 0,0-1-1 0 0,-1 1 0 0 0,1-1 1 0 0,-1 1-1 0 0,1-1 0 0 0,0 1 1 0 0,-1-1-1 0 0,0 1 1 0 0,0-1-1 0 0,2 0 0 0 0,-2 0 1 0 0,0 0-1 0 0,0 0 0 0 0,2 0 1 0 0,-2 0-1 0 0,0 0 0 0 0,0-1 1 0 0,1 1-1 0 0,0-1 0 0 0,-1 1 1 0 0,0-1-1 0 0,2 1 0 0 0,-2 0 1 0 0,-2-3-1 0 0,2 2-31 0 0,-1-1 1 0 0,1 1-1 0 0,-1 0 0 0 0,1-1 0 0 0,0 0 0 0 0,0 0 0 0 0,-1 0 1 0 0,2 0-1 0 0,-1 0 0 0 0,0 0 0 0 0,0-1 0 0 0,1 1 0 0 0,-3-3 1 0 0,3 1-49 0 0,1 2 0 0 0,-1-2 0 0 0,0 2 0 0 0,1-2 0 0 0,-1 2 0 0 0,1-7 0 0 0,0 8-93 0 0,0 0 1 0 0,0 0-1 0 0,0 0 0 0 0,0 0 0 0 0,0 0 1 0 0,0 0-1 0 0,1 0 0 0 0,-1 0 0 0 0,0 0 1 0 0,1 1-1 0 0,-1-1 0 0 0,1 0 0 0 0,-1 0 1 0 0,0 0-1 0 0,1 0 0 0 0,-1 0 0 0 0,1 1 1 0 0,0-1-1 0 0,0 0 0 0 0,-1 1 0 0 0,1-1 1 0 0,0 0-1 0 0,-1 1 0 0 0,3-2 0 0 0,-1 2-2833 0 0</inkml:trace>
</inkml:ink>
</file>

<file path=ppt/ink/ink2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61 5617 0 0,'1'2'8681'0'0,"2"1"-3859"0"0,18 15-693 0 0,-6-3-2009 0 0,-10-8-1818 0 0,0-1 0 0 0,1 0 0 0 0,12 9 0 0 0,-17-13-274 0 0,1-2 0 0 0,-1 1 0 0 0,0-1 0 0 0,0 1 1 0 0,1 0-1 0 0,0 0 0 0 0,-2-1 0 0 0,2 1 0 0 0,0-1 0 0 0,-1 1 0 0 0,1-1 0 0 0,-1 0 1 0 0,1 1-1 0 0,-1-1 0 0 0,1 0 0 0 0,-1 0 0 0 0,1 0 0 0 0,-1-1 0 0 0,1 1 1 0 0,-1 0-1 0 0,1-1 0 0 0,-1 1 0 0 0,1-1 0 0 0,-1 1 0 0 0,0-1 0 0 0,3-1 1 0 0,-3 1-11 0 0,0 1-1 0 0,0-1 1 0 0,1 0 0 0 0,-1-1 0 0 0,0 1 0 0 0,-1 0 0 0 0,1 0 0 0 0,0 0 0 0 0,0 0 0 0 0,0-1 0 0 0,0 1 0 0 0,0 0 0 0 0,-1 0 0 0 0,0-1 0 0 0,0 0 0 0 0,1-1 0 0 0,0 0-6 0 0,-1 0-1 0 0,1 0 1 0 0,-1 0-1 0 0,0 0 1 0 0,0 0-1 0 0,-1 0 1 0 0,0-5-1 0 0,-1-1-27 0 0,-1 0 0 0 0,0 1-1 0 0,-1-1 1 0 0,-5-10 0 0 0,7 17-5 0 0,1 0 1 0 0,-1-1-1 0 0,1 2 1 0 0,-1-1 0 0 0,0 0-1 0 0,-4-3 1 0 0,-7-8-2049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59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1840 0 0,'1'3'1044'0'0,"-1"0"0"0"0,1 0-1 0 0,0 0 1 0 0,-1 0-1 0 0,3 4 1 0 0,1 8 3109 0 0,7 55 1772 0 0,2 15-4414 0 0,2 12-1391 0 0,21 93 737 0 0,9 3 3520 0 0,-41-172-4206 0 0,-2-8 132 0 0,1 0 1 0 0,0 1-1 0 0,8 19 1 0 0,1-6 320 0 0,-11-25-620 0 0,-1-1 1 0 0,2 0 0 0 0,-1 0-1 0 0,0 1 1 0 0,0-1-1 0 0,0 1 1 0 0,0-2-1 0 0,1 1 1 0 0,-1 0 0 0 0,1 0-1 0 0,-2 0 1 0 0,2 0-1 0 0,0 0 1 0 0,0 0 0 0 0,-2-1-1 0 0,2 0 1 0 0,0 0-1 0 0,0 1 1 0 0,-1-1 0 0 0,1 1-1 0 0,1-1 1 0 0,11 4 22 0 0,-12-3-23 0 0,0 0 0 0 0,0 0 0 0 0,-1 1-1 0 0,1-1 1 0 0,0 0 0 0 0,-1 0 0 0 0,0 1 0 0 0,0 0 0 0 0,1-1 0 0 0,-1 0 0 0 0,0 1 0 0 0,0 0-1 0 0,0-1 1 0 0,0 1 0 0 0,1 3 0 0 0,-1-1-2 0 0,6 13 105 0 0,0 0-1 0 0,-1 0 1 0 0,-1 2 0 0 0,1-1-1 0 0,1 27 1 0 0,12 79-131 0 0,-15-111 6 0 0,-3-10 13 0 0,0 0 0 0 0,-1-1 0 0 0,0 1 0 0 0,1-1-1 0 0,-1 1 1 0 0,0 0 0 0 0,0-1 0 0 0,0 6 0 0 0,-1-6 9 0 0,1 2 1 0 0,0-1-1 0 0,0 1 1 0 0,0-1-1 0 0,0 1 0 0 0,1-1 1 0 0,1 5-1 0 0,-1-4 2 0 0,-1 1 0 0 0,1-2-1 0 0,-1 1 1 0 0,0 8 0 0 0,0-6 2 0 0,0-6-7 0 0,0 0-1 0 0,0 0 1 0 0,0 0-1 0 0,0 0 1 0 0,-1 0-1 0 0,1 0 1 0 0,0 0-1 0 0,0 0 1 0 0,0 0-1 0 0,0 0 1 0 0,0 0-1 0 0,0 0 1 0 0,0 0-1 0 0,0 0 1 0 0,0 0-1 0 0,0 0 1 0 0,0 0-1 0 0,0 0 1 0 0,0 0-1 0 0,0 0 1 0 0,0 0-1 0 0,0 0 1 0 0,0 0-1 0 0,0 0 1 0 0,-1 0 0 0 0,1 0-1 0 0,0 0 1 0 0,0 0-1 0 0,0 0 1 0 0,0 0-1 0 0,0 0 1 0 0,0 0-1 0 0,0 0 1 0 0,0 0-1 0 0,0 0 1 0 0,0 0-1 0 0,0 0 1 0 0,0 0-1 0 0,0 0 1 0 0,0 0-1 0 0,0 0 1 0 0,0 0-1 0 0,0 0 1 0 0,0 0-1 0 0,0 0 1 0 0,0 0-1 0 0,0 1 1 0 0,0-1-1 0 0,0 0 1 0 0,0 0 0 0 0,0 0-1 0 0,0 0 1 0 0,0 0-1 0 0,0 0 1 0 0,0 0-1 0 0,0 0 1 0 0,0 0-1 0 0,0 0 1 0 0,0 0-1 0 0,0 0 1 0 0,0 0-1 0 0,0 0 1 0 0,0 0-1 0 0,0 0 1 0 0,0 0-1 0 0,0 0 1 0 0,0 0-1 0 0,0 1 1 0 0,-6-3 19 0 0,3 4-20 0 0,1-1 0 0 0,0 1 0 0 0,-1-1 0 0 0,2 1 0 0 0,-2 0 0 0 0,-1 3 0 0 0,-1 0 0 0 0,3-4 0 0 0,1 0 0 0 0,0 0 0 0 0,0 1 0 0 0,1-2 0 0 0,-2 1 0 0 0,1 1 0 0 0,1-1 0 0 0,-1 1 0 0 0,0-2 0 0 0,0 2 0 0 0,0-1 0 0 0,1 1 0 0 0,0-1 0 0 0,0 0 0 0 0,-1 1 0 0 0,1 0 0 0 0,0-1 0 0 0,-1 0 0 0 0,1 1 0 0 0,0 0 0 0 0,0-1 0 0 0,1 0 0 0 0,-1 1 0 0 0,0 0 0 0 0,0-1 0 0 0,1 0 0 0 0,-1 1 0 0 0,0-1 0 0 0,0 1 0 0 0,1-1 0 0 0,0 0 0 0 0,0 1 0 0 0,0-1 0 0 0,0 0 0 0 0,1 2 0 0 0,-2-2 0 0 0,0-1 0 0 0,0 0 0 0 0,0 0 0 0 0,0 1 0 0 0,0-1 0 0 0,0 0 0 0 0,0 0 0 0 0,0 1 0 0 0,0-1 0 0 0,0 0 0 0 0,0 0 0 0 0,0 1 0 0 0,0-1 0 0 0,0 0 0 0 0,0 0 0 0 0,0 0 0 0 0,0 1 0 0 0,0-1 0 0 0,0 0 0 0 0,0 0 0 0 0,0 0 0 0 0,0 0 0 0 0,0 0 0 0 0,0 0 0 0 0,-1 0 0 0 0,1 0 0 0 0,0 1 0 0 0,0-1 0 0 0,0 0 0 0 0,0 0 0 0 0,-1 0 0 0 0,1 0 0 0 0,0 0 0 0 0,0 0 0 0 0,-1 1 0 0 0,1-1 0 0 0,0 0 0 0 0,0 0 0 0 0,-1 0 0 0 0,1 0 0 0 0,-13 5 0 0 0,5-2 0 0 0,0 1 0 0 0,-13 8 0 0 0,22-9 0 0 0,0-1 0 0 0,-1 0 0 0 0,1 1 0 0 0,0-2 0 0 0,-1 2 0 0 0,3 2 0 0 0,0 2 0 0 0,-1-1 0 0 0,-1-4 0 0 0,-1 0 0 0 0,1 1 0 0 0,0-1 0 0 0,0 0 0 0 0,-1 0 0 0 0,1 1 0 0 0,0-2 0 0 0,1 2 0 0 0,-1-1 0 0 0,0-1 0 0 0,4 5 0 0 0,-1-5-6 0 0,1 1 0 0 0,0 0 0 0 0,1-1-1 0 0,-2 0 1 0 0,6 0 0 0 0,20 6-21 0 0,-17-4 27 0 0,-14-5 0 0 0,-7-1 0 0 0,7 3 0 0 0,1 0 1 0 0,0 0-1 0 0,-1-1 1 0 0,1 1-1 0 0,-1 0 1 0 0,1 0-1 0 0,0 0 1 0 0,-1 0-1 0 0,1 0 0 0 0,0 0 1 0 0,0 0-1 0 0,-1 0 1 0 0,1 0-1 0 0,0 0 1 0 0,-1 0-1 0 0,1 0 1 0 0,-1 0-1 0 0,1 0 0 0 0,-1 0 1 0 0,1 1-1 0 0,0-1 1 0 0,-1 0-1 0 0,1 0 1 0 0,0 0-1 0 0,-1 0 1 0 0,1 0-1 0 0,0 0 0 0 0,0 0 1 0 0,0 1-1 0 0,0-1 1 0 0,-1 0-1 0 0,1 1 1 0 0,0-1-1 0 0,-1 0 1 0 0,1 1-1 0 0,0-1 0 0 0,0 0 1 0 0,0 1-1 0 0,-1-1 1 0 0,1 1-1 0 0,0-1 1 0 0,0 1-1 0 0,0-1 1 0 0,0 0-1 0 0,0 0 0 0 0,0 0 1 0 0,0 1-1 0 0,0-1 1 0 0,0 1-1 0 0,0-1 1 0 0,0 0-1 0 0,0 1 1 0 0,0-1-1 0 0,0 1 0 0 0,0-1 1 0 0,1 0-1 0 0,-1 1 1 0 0,7 25 34 0 0,-6-21-32 0 0,0-3-3 0 0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7 158 1584 0 0,'-5'1'132'0'0,"-6"6"5749"0"0,11-3-2201 0 0,9 0-1139 0 0,-1-2-2101 0 0,0-1 0 0 0,1 0 1 0 0,-2-1-1 0 0,2 0 0 0 0,10-1 0 0 0,5 0 299 0 0,-3 0-671 0 0,-1-2-1 0 0,24-4 0 0 0,-22 3-23 0 0,96-23-324 0 0,-114 26 317 0 0,1-2 1 0 0,-1 1-1 0 0,-1 0 1 0 0,2-1-1 0 0,-2 1 1 0 0,2-1 0 0 0,-2 0-1 0 0,0 0 1 0 0,1 0-1 0 0,-2-1 1 0 0,2 1-1 0 0,-1-2 1 0 0,-1 2-1 0 0,1-1 1 0 0,2-5 0 0 0,-1 1-580 0 0,1 0 0 0 0,-2-1 0 0 0,0 0 1 0 0,0 0-1 0 0,0 0 0 0 0,1-15 0 0 0,-3 19-4556 0 0</inkml:trace>
</inkml:ink>
</file>

<file path=ppt/ink/ink3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74 9154 0 0,'0'0'707'0'0,"4"5"9664"0"0,5 8-6893 0 0,0-1-3073 0 0,-5-4 135 0 0,1 0 0 0 0,0 0 0 0 0,11 11 0 0 0,-15-18-493 0 0,0-1-1 0 0,0 1 0 0 0,0 1 0 0 0,0-1 0 0 0,1 0 1 0 0,-2 0-1 0 0,1-1 0 0 0,1 0 0 0 0,-1 1 1 0 0,1 0-1 0 0,-1 0 0 0 0,0-1 0 0 0,0 1 0 0 0,1-1 1 0 0,0 1-1 0 0,-2-1 0 0 0,2 0 0 0 0,0 0 1 0 0,-1 0-1 0 0,0 0 0 0 0,1 0 0 0 0,-1 0 0 0 0,1 0 1 0 0,-1 0-1 0 0,0-1 0 0 0,1 1 0 0 0,-1 0 0 0 0,1-1 1 0 0,1-1-1 0 0,-1 1-41 0 0,0 0-1 0 0,-2 0 1 0 0,2-1 0 0 0,-1 1 0 0 0,0 0 0 0 0,1-1-1 0 0,-2 1 1 0 0,1-1 0 0 0,0 1 0 0 0,0-1-1 0 0,0 0 1 0 0,-1 0 0 0 0,1 1 0 0 0,0-1 0 0 0,-1 0-1 0 0,0 0 1 0 0,0 1 0 0 0,0-2 0 0 0,0 1-1 0 0,0 1 1 0 0,0-4 0 0 0,0-2 10 0 0,0-1-1 0 0,-1-1 1 0 0,-3-10 0 0 0,3 14-68 0 0,-1-9-354 0 0,-2 0 1 0 0,-9-26 0 0 0,13 40 343 0 0,0 0 0 0 0,0 0 1 0 0,0 0-1 0 0,0 1 0 0 0,0-1 1 0 0,0 0-1 0 0,-1 0 0 0 0,1 0 1 0 0,0 0-1 0 0,0 0 0 0 0,0 0 1 0 0,0 0-1 0 0,0 1 0 0 0,0-1 1 0 0,0 0-1 0 0,0 0 1 0 0,0 0-1 0 0,-1 0 0 0 0,1 0 1 0 0,0 0-1 0 0,0 0 0 0 0,0 0 1 0 0,0 0-1 0 0,0 0 0 0 0,0 0 1 0 0,0 0-1 0 0,-1 0 0 0 0,1 0 1 0 0,0 0-1 0 0,0 0 0 0 0,0 0 1 0 0,0 0-1 0 0,0 0 0 0 0,0 0 1 0 0,-1 0-1 0 0,1 0 0 0 0,0 0 1 0 0,0 0-1 0 0,0 0 0 0 0,0 0 1 0 0,0 0-1 0 0,0 0 0 0 0,-1 0 1 0 0,1 0-1 0 0,0 0 0 0 0,0 0 1 0 0,0 0-1 0 0,0 0 1 0 0,0-1-1 0 0,0 1 0 0 0,0 0 1 0 0,0 0-1 0 0,-1 0 0 0 0,2 2-806 0 0</inkml:trace>
</inkml:ink>
</file>

<file path=ppt/ink/ink3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63 9674 0 0,'3'2'7298'0'0,"6"7"-2603"0"0,-4-2-3706 0 0,0 0 0 0 0,0 0 1 0 0,-1 0-1 0 0,6 13 0 0 0,-6-11-814 0 0,-1-1 0 0 0,2-1 0 0 0,-1 0 0 0 0,7 9 1 0 0,-11-16-166 0 0,0 0 0 0 0,0 0 0 0 0,0 1 0 0 0,0-1 0 0 0,1 0 0 0 0,-1 0 1 0 0,0 1-1 0 0,0-1 0 0 0,0 0 0 0 0,1 0 0 0 0,-1 0 0 0 0,0 1 0 0 0,0-1 0 0 0,1 0 1 0 0,-1 0-1 0 0,0 0 0 0 0,0 0 0 0 0,1 0 0 0 0,-1 0 0 0 0,0 0 0 0 0,0 0 1 0 0,0 0-1 0 0,0 0 0 0 0,0 0 0 0 0,1 0 0 0 0,-1 0 0 0 0,0 0 0 0 0,1 0 1 0 0,-1 0-1 0 0,0 0 0 0 0,0 0 0 0 0,1 0 0 0 0,-1 0 0 0 0,0 0 0 0 0,0 0 0 0 0,1 0 1 0 0,-1 0-1 0 0,0 0 0 0 0,1-1 0 0 0,4-11 250 0 0,0-13-80 0 0,-4 11-228 0 0,-2 0-1 0 0,1-1 1 0 0,-4-17 0 0 0,1 14-432 0 0,1-20 1 0 0,2 35 66 0 0,-1 5-44 0 0,0 3-2895 0 0</inkml:trace>
</inkml:ink>
</file>

<file path=ppt/ink/ink3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24 6793 0 0,'-2'7'9643'0'0,"1"8"-4544"0"0,1-2-2525 0 0,4 25 0 0 0,-2-27-2341 0 0,1 0-1 0 0,0 0 1 0 0,1 0-1 0 0,8 18 1 0 0,-12-27-209 0 0,1-1 0 0 0,0 0 0 0 0,1 1 0 0 0,-1 0 0 0 0,0-1 0 0 0,0 0 0 0 0,0 1 0 0 0,1-1-1 0 0,0 0 1 0 0,-1 0 0 0 0,0 0 0 0 0,1 1 0 0 0,0-1 0 0 0,-1 0 0 0 0,1 0 0 0 0,0-1 0 0 0,0 0 0 0 0,1 2 0 0 0,-1-2-14 0 0,-1 0 1 0 0,-1 0-1 0 0,2 0 0 0 0,-1 0 1 0 0,0 0-1 0 0,1 0 0 0 0,-1 0 1 0 0,-1-1-1 0 0,2 1 1 0 0,-1 0-1 0 0,0-1 0 0 0,0 1 1 0 0,0 0-1 0 0,0 0 0 0 0,0-1 1 0 0,0 1-1 0 0,0-1 0 0 0,0 0 1 0 0,0 0-1 0 0,-1 0 1 0 0,1 0-1 0 0,0 1 0 0 0,0-1 1 0 0,0 1-1 0 0,0-2 0 0 0,-1 1 1 0 0,1 0-1 0 0,-1 0 0 0 0,0 0 1 0 0,2-1-1 0 0,1-6-58 0 0,-1 1-1 0 0,0 0 1 0 0,0 0 0 0 0,0-1-1 0 0,-2 1 1 0 0,1-1-1 0 0,-1-11 1 0 0,0 2-141 0 0,-1 1 0 0 0,-5-23 1 0 0,6 36 11 0 0,0 1 0 0 0,-1 1 0 0 0,1-1 0 0 0,-1 0-1 0 0,0 1 1 0 0,0-1 0 0 0,0 0 0 0 0,0 0 0 0 0,0 1 0 0 0,1-1 0 0 0,-1 0 0 0 0,-1 0 0 0 0,1 2 0 0 0,-3-5 0 0 0,1 2-1591 0 0,3 2 608 0 0</inkml:trace>
</inkml:ink>
</file>

<file path=ppt/ink/ink3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9154 0 0,'0'10'6129'0'0,"0"11"1600"0"0,1 0-4044 0 0,-1-4-3604 0 0,1-1 0 0 0,0 1 0 0 0,2-1 0 0 0,4 17 0 0 0,-6-32-68 0 0,-1 0 1 0 0,0 0-1 0 0,1 0 1 0 0,-1 0-1 0 0,1 1 1 0 0,-1-1-1 0 0,0-1 1 0 0,0 1-1 0 0,1 0 1 0 0,0 0 0 0 0,0 0-1 0 0,0 0 1 0 0,-1 0-1 0 0,1 0 1 0 0,0-1-1 0 0,-1 1 1 0 0,1 0-1 0 0,1 0 1 0 0,-1-1-1 0 0,0 1 1 0 0,0 0-1 0 0,1 0 1 0 0,-1-1 5 0 0,1 0 0 0 0,-1 0 0 0 0,0 0 0 0 0,0 0 1 0 0,0-1-1 0 0,1 1 0 0 0,-1 0 0 0 0,0-1 0 0 0,0 1 0 0 0,0-1 0 0 0,0 1 1 0 0,1-1-1 0 0,-1 0 0 0 0,-1 1 0 0 0,1-1 0 0 0,0 1 0 0 0,0-1 0 0 0,0 0 1 0 0,0 0-1 0 0,0 0 0 0 0,1-2 0 0 0,3-3-103 0 0,1-1 0 0 0,-1-1 1 0 0,0 0-1 0 0,-1 0 0 0 0,0 1 1 0 0,0-2-1 0 0,-1 1 0 0 0,0 0 0 0 0,0-1 1 0 0,-1 0-1 0 0,0 1 0 0 0,-1-2 0 0 0,1-14 1 0 0,-4 12-1254 0 0,-3 6-3984 0 0</inkml:trace>
</inkml:ink>
</file>

<file path=ppt/ink/ink3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 6193 0 0,'0'0'553'0'0,"0"1"0"0"0,-1-1 0 0 0,1 1 0 0 0,-1-1 0 0 0,1 0 0 0 0,0 1-1 0 0,0-1 1 0 0,0 0 0 0 0,0 1 0 0 0,0-1 0 0 0,0 1 0 0 0,-1-1 0 0 0,1 1 0 0 0,0-1 0 0 0,0 1-1 0 0,0 0 1 0 0,-1 19 2585 0 0,1-17-2368 0 0,-1 16 742 0 0,2 0 1 0 0,1 0-1 0 0,-1 0 0 0 0,11 36 1 0 0,-12-54-1488 0 0,0 0 0 0 0,0 0 1 0 0,0-1-1 0 0,0 1 0 0 0,1-1 0 0 0,-1 1 1 0 0,0 0-1 0 0,1 0 0 0 0,-1-1 0 0 0,1 1 1 0 0,-1 0-1 0 0,1 0 0 0 0,-1-1 0 0 0,1 0 1 0 0,0 1-1 0 0,-1-1 0 0 0,0 1 0 0 0,1-1 1 0 0,0 1-1 0 0,-1-1 0 0 0,1 1 0 0 0,1 0 1 0 0,-1-1-6 0 0,-1 0 1 0 0,1 0-1 0 0,0 0 1 0 0,0 0-1 0 0,0 0 1 0 0,0-1 0 0 0,0 1-1 0 0,-1 0 1 0 0,1 0-1 0 0,0-1 1 0 0,0 1-1 0 0,0-1 1 0 0,0 1-1 0 0,0-1 1 0 0,0 1 0 0 0,-1-1-1 0 0,1 1 1 0 0,3-3 7 0 0,-2 0 0 0 0,2 0 0 0 0,-2 0 0 0 0,1 0 1 0 0,-1-1-1 0 0,1 1 0 0 0,1-5 0 0 0,1-1-109 0 0,-2-1 1 0 0,1 1-1 0 0,-1-2 0 0 0,2-12 1 0 0,-3 17-152 0 0,-1 0 1 0 0,-1 1 0 0 0,1-1-1 0 0,-1 0 1 0 0,0 0 0 0 0,-1 0-1 0 0,0 1 1 0 0,0-1 0 0 0,-2-7-1 0 0,2 9-1941 0 0</inkml:trace>
</inkml:ink>
</file>

<file path=ppt/ink/ink3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8 5065 0 0,'1'0'538'0'0,"-1"-1"1"0"0,1 0-1 0 0,-1 1 0 0 0,1-1 1 0 0,-1 1-1 0 0,0 0 0 0 0,0 0 1 0 0,1-1-1 0 0,-1 1 0 0 0,1 0 1 0 0,0-1-1 0 0,-1 1 0 0 0,1 0 1 0 0,-1-1-1 0 0,1 1 0 0 0,0 0 1 0 0,-1 0-1 0 0,0 0 0 0 0,2-1 1 0 0,11-1 3401 0 0,42-6 1405 0 0,6-1-4542 0 0,-48 7-814 0 0,23 0 0 0 0,3-1-2145 0 0,-27 0-1758 0 0,-10 2 2178 0 0</inkml:trace>
</inkml:ink>
</file>

<file path=ppt/ink/ink3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6 39 1352 0 0,'-1'0'671'0'0,"0"-1"0"0"0,0 0 0 0 0,0 1-1 0 0,0-1 1 0 0,0 1 0 0 0,0 0 0 0 0,-1-1-1 0 0,1 1 1 0 0,1 0 0 0 0,-2 0 0 0 0,1-1-1 0 0,-2 1 1 0 0,-7 0 8212 0 0,19 0-3692 0 0,9-2-4892 0 0,-6 0-271 0 0,74-12-113 0 0,-59 8-565 0 0,-1 2-1 0 0,40-2 1 0 0,-72 9-3526 0 0,4-3 2847 0 0</inkml:trace>
</inkml:ink>
</file>

<file path=ppt/ink/ink3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7 57 2361 0 0,'-16'-3'7629'0'0,"15"2"-7455"0"0,-1 0 0 0 0,1 1 1 0 0,-1-1-1 0 0,0 1 0 0 0,0-1 0 0 0,1 1 1 0 0,0 0-1 0 0,-1 0 0 0 0,0 0 0 0 0,-2 0 1 0 0,37-7-1116 0 0,30-6 3019 0 0,16-1 3545 0 0,-4-1-618 0 0,-78 18-9396 0 0</inkml:trace>
</inkml:ink>
</file>

<file path=ppt/ink/ink3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93 2881 0 0,'-9'5'17713'0'0,"15"-8"-16916"0"0,104-44 2402 0 0,-23 9-5170 0 0,-74 32 191 0 0,-8 3-5507 0 0</inkml:trace>
</inkml:ink>
</file>

<file path=ppt/ink/ink3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83 1 9474 0 0,'-6'5'881'0'0,"-96"94"12300"0"0,76-78-12151 0 0,20-17-718 0 0,0 1 0 0 0,1 0 0 0 0,-1-1 0 0 0,1 1 0 0 0,0 1 0 0 0,-9 12 0 0 0,14-18-340 0 0,0 0 0 0 0,0 0 0 0 0,0 0 0 0 0,0 0 0 0 0,0 0 0 0 0,0 0 0 0 0,-1 0 0 0 0,1 0 0 0 0,0 0 0 0 0,0 0 0 0 0,0 0 0 0 0,0 0 1 0 0,0 0-1 0 0,0 0 0 0 0,0 0 0 0 0,0 0 0 0 0,0 0 0 0 0,0 0 0 0 0,0 0 0 0 0,0 0 0 0 0,0 0 0 0 0,0 0 0 0 0,0 0 0 0 0,0 0 0 0 0,0 0 0 0 0,0 0 0 0 0,0 0 0 0 0,0 0 0 0 0,0 0 1 0 0,0 0-1 0 0,0 0 0 0 0,0 0 0 0 0,0 0 0 0 0,0 0 0 0 0,0 0 0 0 0,0 1 0 0 0,0-1 0 0 0,0 0 0 0 0,0 0 0 0 0,0 0 0 0 0,0 0 0 0 0,0 0 0 0 0,0 0 0 0 0,0 0 0 0 0,0 0 1 0 0,0 0-1 0 0,0 0 0 0 0,0 0 0 0 0,0 0 0 0 0,0 0 0 0 0,0 0 0 0 0,0 0 0 0 0,0 0 0 0 0,0 1 0 0 0,0-1 0 0 0,0 0 0 0 0,0 0 0 0 0,0 0 0 0 0,0 0 0 0 0,1 0 0 0 0,-1 0 1 0 0,0 0-1 0 0,0 0 0 0 0,0 0 0 0 0,0 0 0 0 0,0 0 0 0 0,0 0 0 0 0,0 0 0 0 0,0 0 0 0 0,3-2-5781 0 0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 1296 0 0,'1'1'19791'0'0,"1"24"-18042"0"0,-5 76-957 0 0,1 50 425 0 0,4 13-802 0 0,1 32 163 0 0,2-56-304 0 0,0-16-68 0 0,-5-115-258 0 0,1 3-301 0 0,0 0 0 0 0,-1 0 1 0 0,0 1-1 0 0,-1-1 0 0 0,-2 12 0 0 0</inkml:trace>
</inkml:ink>
</file>

<file path=ppt/ink/ink3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3 1 5617 0 0,'-39'41'11713'0'0,"-18"21"-4941"0"0,35-37-5709 0 0,-5 8-1022 0 0,16-19-3057 0 0,5-6-535 0 0</inkml:trace>
</inkml:ink>
</file>

<file path=ppt/ink/ink3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9 1 3369 0 0,'-9'17'8859'0'0,"7"-13"-7131"0"0,-30 61 8020 0 0,-22 30-7533 0 0,42-73-2870 0 0</inkml:trace>
</inkml:ink>
</file>

<file path=ppt/ink/ink3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7 3889 0 0,'1'-3'18251'0'0,"7"2"-15928"0"0,3 1-2233 0 0,0 0 0 0 0,12 0 0 0 0,-4-2-9612 0 0,-14 1 2953 0 0</inkml:trace>
</inkml:ink>
</file>

<file path=ppt/ink/ink3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9 7258 0 0,'6'-1'10192'0'0,"5"-1"-5667"0"0,13-2-2768 0 0,-16 4-1517 0 0,-1-1-1357 0 0,-2 1-4785 0 0</inkml:trace>
</inkml:ink>
</file>

<file path=ppt/ink/ink3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1 29 888 0 0,'-4'-5'3282'0'0,"2"4"-1574"0"0,0 0 1 0 0,2 1 0 0 0,-2 0-1 0 0,0 0 1 0 0,0-1 0 0 0,1 1-1 0 0,-2 0 1 0 0,0 0 0 0 0,-6-1 2863 0 0,32-3-3319 0 0,8-3-1065 0 0,28-2-592 0 0,-57 9 257 0 0</inkml:trace>
</inkml:ink>
</file>

<file path=ppt/ink/ink3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 6793 0 0,'0'1'630'0'0,"0"-1"0"0"0,0 1 0 0 0,-1 0-1 0 0,1-1 1 0 0,-1 0 0 0 0,1 1 0 0 0,0 0-1 0 0,-1 0 1 0 0,1 0 0 0 0,0 0-1 0 0,0 0 1 0 0,0-1 0 0 0,0 2 0 0 0,1 21 5242 0 0,1-11-3993 0 0,-4 65 1734 0 0,4 77-2704 0 0,4-78-1529 0 0,-6-77 243 0 0</inkml:trace>
</inkml:ink>
</file>

<file path=ppt/ink/ink3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3 1 7858 0 0,'0'5'8016'0'0,"-2"1"-3368"0"0,-8 15-1923 0 0,5-9-1307 0 0,-31 70-224 0 0,36-82-1960 0 0</inkml:trace>
</inkml:ink>
</file>

<file path=ppt/ink/ink3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6793 0 0,'3'0'11392'0'0,"1"1"-4770"0"0,6 1-3183 0 0,5 1-5936 0 0,-9-3 4076 0 0,-1 1-1612 0 0,1-1-1 0 0,-1-1 0 0 0,0 1 1 0 0,8-2-1 0 0,0 0-3329 0 0</inkml:trace>
</inkml:ink>
</file>

<file path=ppt/ink/ink3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2 6793 0 0,'-1'-2'12665'0'0,"2"2"-12481"0"0,7-2 4190 0 0,10 0-3678 0 0,-17 2 44 0 0,49-7 746 0 0,-25 1-2397 0 0,2 3-5102 0 0</inkml:trace>
</inkml:ink>
</file>

<file path=ppt/ink/ink3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3 2881 0 0,'-10'3'16303'0'0,"17"-2"-14727"0"0,23 1 709 0 0,33-3 0 0 0,-33-2-4798 0 0,1-1-4003 0 0,-27 4 385 0 0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2361 0 0,'14'5'8847'0'0,"9"-1"-3247"0"0,-4 0-1917 0 0,22 5-1309 0 0,-27-8-2299 0 0,0 2 1 0 0,-1 0-1 0 0,0 1 0 0 0,0 0 1 0 0,20 10-1 0 0</inkml:trace>
</inkml:ink>
</file>

<file path=ppt/ink/ink3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1 2361 0 0,'1'-4'13520'0'0,"-1"4"-13318"0"0,8-2 2763 0 0,35 1-1505 0 0,0-2 1 0 0,53-11-1 0 0,-84 12-3989 0 0,28 1 1 0 0,7-2-2076 0 0,-45 3 3777 0 0,1 0 25 0 0</inkml:trace>
</inkml:ink>
</file>

<file path=ppt/ink/ink3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6 3369 0 0,'4'0'6622'0'0,"8"-1"-2179"0"0,-4 0-2163 0 0,22 0 2240 0 0,-2-1-2875 0 0,29 2 1 0 0,-40 0-1677 0 0,0 0-1103 0 0,-6 2-3086 0 0</inkml:trace>
</inkml:ink>
</file>

<file path=ppt/ink/ink3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0 14 888 0 0,'-1'-1'499'0'0,"0"1"-1"0"0,0 0 1 0 0,0-1 0 0 0,1 1-1 0 0,-1-1 1 0 0,0 1 0 0 0,1-1-1 0 0,-1 1 1 0 0,0 0 0 0 0,0 0-1 0 0,0-1 1 0 0,1 0-1 0 0,-1-1 1 0 0,-8-3 12194 0 0,11 5-12531 0 0,-1 0 0 0 0,1 1 0 0 0,0-1-1 0 0,0 1 1 0 0,-1-1 0 0 0,0 1 0 0 0,1-1 0 0 0,0 1 0 0 0,-1 0 0 0 0,0 0 0 0 0,3 2 0 0 0,17 16 2501 0 0,-8-8-1793 0 0,1 1-701 0 0,-2 1 1 0 0,1 0 0 0 0,-2 1 0 0 0,0 0-1 0 0,0 1 1 0 0,9 18 0 0 0,7 9 58 0 0,-15-26-61 0 0,-1 1-1 0 0,-1 2 1 0 0,-1-2 0 0 0,0 2-1 0 0,9 26 1 0 0,-13-24-127 0 0,0 2 0 0 0,0-2 0 0 0,-2 2 0 0 0,1 33 0 0 0,-5-46-80 0 0,-4 20 0 0 0,5-24-29 0 0,-1 0 0 0 0,0 1 0 0 0,0-1 0 0 0,1 1 0 0 0,0 0 0 0 0,0-1 0 0 0,3 13 0 0 0,-3-13-2634 0 0</inkml:trace>
</inkml:ink>
</file>

<file path=ppt/ink/ink3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72 1352 0 0,'0'-15'3657'0'0,"0"-20"-6744"0"0,0 24 5337 0 0,0 0 4308 0 0,-1 64 2093 0 0,0 2-4244 0 0,3 165-2726 0 0,9-75-1563 0 0,-1-10-3208 0 0,-9-131 1040 0 0,-2 0-2863 0 0</inkml:trace>
</inkml:ink>
</file>

<file path=ppt/ink/ink3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7 1352 0 0,'-1'-6'2880'0'0,"1"-4"14621"0"0,4 12-16985 0 0,1 0 1 0 0,1 0 0 0 0,-1-1 0 0 0,0 1 0 0 0,0-2 0 0 0,0 1 0 0 0,8 1-1 0 0,1 0-97 0 0,79 14 238 0 0,52 7-610 0 0,-108-22-36 0 0,-27-1-97 0 0,0 0 0 0 0,-1 1 0 0 0,18 3-1 0 0,-21-1-2180 0 0</inkml:trace>
</inkml:ink>
</file>

<file path=ppt/ink/ink3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50 7858 0 0,'0'0'1777'0'0,"8"-1"6911"0"0,0-1-3583 0 0,19-12-2588 0 0,-5 3-1926 0 0,-3 3-576 0 0,12-4-4428 0 0,-28 10 4384 0 0</inkml:trace>
</inkml:ink>
</file>

<file path=ppt/ink/ink3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4 1352 0 0,'-3'-3'19634'0'0,"22"7"-15911"0"0,40 10-3086 0 0,-28-7-122 0 0,1 1 0 0 0,-1 1 0 0 0,31 14 0 0 0,-13-5-564 0 0,-16-7-41 0 0,-26-5-4100 0 0</inkml:trace>
</inkml:ink>
</file>

<file path=ppt/ink/ink3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3 3369 0 0,'3'-8'3753'0'0,"-3"7"-3263"0"0,0-1 1 0 0,0 1-1 0 0,0 0 0 0 0,0 1 0 0 0,1-1 0 0 0,-1-1 0 0 0,1 1 0 0 0,-1 0 0 0 0,1 0 0 0 0,0 1 0 0 0,0-1 0 0 0,0-1 1 0 0,1 5 3600 0 0,-2 12-1241 0 0,-4 82 1065 0 0,-1 129-1787 0 0,5-219-2196 0 0,0 5-140 0 0,0-1-1 0 0,0 0 1 0 0,1-1 0 0 0,0 1 0 0 0,1 1-1 0 0,6 17 1 0 0</inkml:trace>
</inkml:ink>
</file>

<file path=ppt/ink/ink3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42.27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 432 0 0,'0'0'27'0'0,"0"-1"-1"0"0,0 1 1 0 0,0 0-1 0 0,0 0 1 0 0,1 0 0 0 0,-1 0-1 0 0,0-1 1 0 0,0 1-1 0 0,0 0 1 0 0,0 0-1 0 0,1 0 1 0 0,-1 0 0 0 0,0 0-1 0 0,0 0 1 0 0,1 0-1 0 0,-1 0 1 0 0,0 0-1 0 0,0 0 1 0 0,0 0 0 0 0,0 0-1 0 0,0 0 1 0 0,0 0-1 0 0,0 0 1 0 0,1 0 0 0 0,-1 0-1 0 0,0 0 1 0 0,0 0-1 0 0,1 0 1 0 0,-1 0-1 0 0,0 0 1 0 0,0 0 0 0 0,0 0-1 0 0,1 0 1 0 0,-1 1-1 0 0,0-1 1 0 0,0 0-1 0 0,0 0 1 0 0,1 0 0 0 0,-1 1-1 0 0,8 3 2483 0 0,2 1 258 0 0,0 1 1 0 0,14 4-1 0 0,22 6 338 0 0,20 8-1884 0 0,-13-2-241 0 0,57 17 1 0 0,-36-19 181 0 0,49 18 264 0 0,-116-36-1688 0 0,-5-1-38 0 0,-1-1 1 0 0,1 1 0 0 0,-1-1-1 0 0,1 1 1 0 0,-1-1-1 0 0,1 0 1 0 0,-1 1-1 0 0,3 2 1 0 0</inkml:trace>
</inkml:ink>
</file>

<file path=ppt/ink/ink3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43.1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432 0 0,'18'3'12351'0'0,"15"6"-7716"0"0,-10-2-2409 0 0,162 53 1525 0 0,-7 0-3286 0 0,-136-52 107 0 0,-19-3-4762 0 0,-21-5 2672 0 0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7258 0 0,'0'0'554'0'0,"4"1"6506"0"0,14 3-3271 0 0,23 7 474 0 0,22 8-2322 0 0,-42-12-1733 0 0,57 23 400 0 0,-7-3-1369 0 0,-70-26-160 0 0,-4-1-2792 0 0</inkml:trace>
</inkml:ink>
</file>

<file path=ppt/ink/ink3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46.24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3 3889 0 0,'0'-1'288'0'0,"0"1"1"0"0,-1 0-1 0 0,1 0 1 0 0,0 0-1 0 0,0 0 1 0 0,0-1-1 0 0,0 1 0 0 0,0 0 1 0 0,0-1-1 0 0,0 1 1 0 0,0 0-1 0 0,0-1 1 0 0,1 1-1 0 0,-1 0 1 0 0,0-1-1 0 0,0 1 1 0 0,0 0-1 0 0,0-1 0 0 0,0 1 1 0 0,0 0-1 0 0,1 0 1 0 0,-1-1-1 0 0,0 1 1 0 0,0 0-1 0 0,1 0 1 0 0,-1-1-1 0 0,0 1 1 0 0,0 0-1 0 0,0 0 0 0 0,0 0 1 0 0,0 0-1 0 0,0 0 1 0 0,1 0-1 0 0,-1 0 1 0 0,0 0-1 0 0,1 0 1 0 0,-1 0-1 0 0,0-1 1 0 0,1 1-1 0 0,-1 0 0 0 0,0 0 1 0 0,1 0-1 0 0,-1 0 1 0 0,0 0-1 0 0,1 0 1 0 0,-1 0-1 0 0,1 0 1 0 0,18-1 6227 0 0,-12 1-6198 0 0,-3-1-80 0 0,12-1 662 0 0,19-3-1 0 0,-32 4-927 0 0,1 0 1 0 0,0 1-1 0 0,0-2 0 0 0,0 0 1 0 0,-1 0-1 0 0,1 1 0 0 0,-1-1 1 0 0,0 0-1 0 0,1 0 0 0 0,4-4 1 0 0,-7 3-3659 0 0</inkml:trace>
</inkml:ink>
</file>

<file path=ppt/ink/ink3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47.27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9 1840 0 0,'-3'-8'13903'0'0,"19"14"-6925"0"0,-5-2-6217 0 0,9 2 551 0 0,55 13-397 0 0,-73-19-916 0 0,11 3 4 0 0,-12-3-4 0 0,-1 0 1 0 0,1 0-1 0 0,-1 0 0 0 0,0 0 1 0 0,1 0-1 0 0,-1 0 0 0 0,1 0 1 0 0,-1 0-1 0 0,0 0 0 0 0,0 0 1 0 0,0 0-1 0 0,1 0 0 0 0,-1-1 1 0 0,1 1-1 0 0,-1 0 0 0 0,1 0 1 0 0,-1 0-1 0 0,0 0 0 0 0,1-1 1 0 0,-1 1-1 0 0,0 0 0 0 0,1-1 1 0 0,-1 1-1 0 0,0 0 0 0 0,1-1 1 0 0,-1 1-81 0 0,-6 2-607 0 0,4 0 1204 0 0,8-4-166 0 0,28 0 816 0 0,-29 2-1120 0 0,1 0 0 0 0,-2 0 0 0 0,1 0 0 0 0,0 0-1 0 0,0-1 1 0 0,0-1 0 0 0,0 1 0 0 0,8-3 0 0 0,-12 3-83 0 0,0 1 0 0 0,-1-1 0 0 0,1 0 0 0 0,0 1 0 0 0,-1-1 0 0 0,1 1 0 0 0,0 0 0 0 0,0-1 0 0 0,-1 0 0 0 0,1 0 0 0 0,-1 0 0 0 0,1 0 0 0 0,-1 0 0 0 0,0 1 0 0 0,1-2 0 0 0,-1 0-455 0 0</inkml:trace>
</inkml:ink>
</file>

<file path=ppt/ink/ink3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50.36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16 2881 0 0,'3'-4'8055'0'0,"5"1"-5796"0"0,96-11 1938 0 0,-96 12-4129 0 0,178-32-759 0 0,18-15 3470 0 0,-193 46-3933 0 0,-6 1-548 0 0,1 0 0 0 0,0 2 0 0 0,6-3 0 0 0</inkml:trace>
</inkml:ink>
</file>

<file path=ppt/ink/ink3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50.91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9 3369 0 0,'0'0'285'0'0,"0"-1"1"0"0,0 1 0 0 0,0-1 0 0 0,1 1-1 0 0,-1-1 1 0 0,0 0 0 0 0,0 1 0 0 0,1-1-1 0 0,-1 1 1 0 0,0-1 0 0 0,1 1-1 0 0,-1 0 1 0 0,0 0 0 0 0,0 0 0 0 0,0-1-1 0 0,1 1 1 0 0,-1-1 0 0 0,0 1-1 0 0,2-1 1 0 0,-2 1-109 0 0,0 0 0 0 0,1 0 0 0 0,-1 0 0 0 0,0 1 0 0 0,1-1 0 0 0,-1 0 0 0 0,0 0-1 0 0,1 0 1 0 0,-1 0 0 0 0,0 0 0 0 0,0 0 0 0 0,0 1 0 0 0,0-1 0 0 0,0 0 0 0 0,0 0 0 0 0,1 0 0 0 0,-1 1 0 0 0,0-1 0 0 0,0 0-1 0 0,1 0 1 0 0,-1 0 0 0 0,0 0 0 0 0,0 0 0 0 0,0 1 0 0 0,2 1 349 0 0,-1 1 0 0 0,0-2 0 0 0,0 2 0 0 0,-1 0 0 0 0,1-1 0 0 0,0 4 0 0 0,0 5 273 0 0,-1 1 1 0 0,-1 0 0 0 0,0-1-1 0 0,0 0 1 0 0,-5 16-1 0 0,4-16-7 0 0,0 1-1 0 0,0 0 0 0 0,1 0 0 0 0,1 18 1 0 0,0-30-882 0 0,0 1 1 0 0,0-1 0 0 0,0 0 0 0 0,0 1 0 0 0,0-1 0 0 0,0 1 0 0 0,0-1 0 0 0,0 1-1 0 0,0-1 1 0 0,0 0 0 0 0,0 1 0 0 0,0-1 0 0 0,0 1 0 0 0,1-1 0 0 0,-1 0 0 0 0,0 0-1 0 0,0 0 1 0 0,1 0 0 0 0,-1 1 0 0 0,0-1 0 0 0,1 0 0 0 0,-1 1 0 0 0,0-1 0 0 0,1 0-1 0 0,-1 0 1 0 0,0 1 0 0 0,1-1 0 0 0,0 0 0 0 0</inkml:trace>
</inkml:ink>
</file>

<file path=ppt/ink/ink3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53.53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3369 0 0,'3'18'6479'0'0,"5"11"-2324"0"0,0-4-1497 0 0,14 94 575 0 0,-4 64-3532 0 0,-16-129-551 0 0,3 36 474 0 0,-2-72-1427 0 0,6 23 0 0 0,-9-37-3646 0 0</inkml:trace>
</inkml:ink>
</file>

<file path=ppt/ink/ink3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54.2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3889 0 0,'0'3'826'0'0,"1"-1"1"0"0,-1 1 0 0 0,1-2-1 0 0,0 2 1 0 0,-1 0 0 0 0,3 1-1 0 0,1 9 2094 0 0,2 11 679 0 0,3 27 1 0 0,-2 26-705 0 0,2 11-1450 0 0,8 26-482 0 0,11 91-1749 0 0,-27-192-3341 0 0</inkml:trace>
</inkml:ink>
</file>

<file path=ppt/ink/ink3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13.111"/>
    </inkml:context>
    <inkml:brush xml:id="br0">
      <inkml:brushProperty name="width" value="0.00882" units="cm"/>
      <inkml:brushProperty name="height" value="0.00882" units="cm"/>
      <inkml:brushProperty name="color" value="#F6630D"/>
    </inkml:brush>
  </inkml:definitions>
  <inkml:trace contextRef="#ctx0" brushRef="#br0">83 14 3281 0 0,'0'-1'633'0'0,"0"1"1"0"0,0-1 0 0 0,0 0-1 0 0,0 1 1 0 0,-1-1-1 0 0,1 1 1 0 0,0 0 0 0 0,0-1-1 0 0,0 1 1 0 0,-1-1-1 0 0,1 0 1 0 0,0 1 0 0 0,-1-1-1 0 0,1 1 1 0 0,0-1-1 0 0,-1 1 1 0 0,1-1 0 0 0,-1 1-1 0 0,1 0 1 0 0,0 0 0 0 0,0 0-1 0 0,-1-1 1 0 0,1 1-1 0 0,-2-1 1 0 0,2 1-324 0 0,-1 0-1 0 0,0-1 1 0 0,0 1 0 0 0,1 0-1 0 0,0 0 1 0 0,-1 0 0 0 0,1 0-1 0 0,-1 0 1 0 0,0 0 0 0 0,0 0-1 0 0,1 0 1 0 0,-1 0 0 0 0,0 0-1 0 0,1 0 1 0 0,0 0 0 0 0,-1 0-1 0 0,0 1 1 0 0,0-1 0 0 0,1 0-1 0 0,-1 0 1 0 0,0 1 0 0 0,-4 1-97 0 0,0 1 0 0 0,1 0 0 0 0,-1 1 0 0 0,1-1 0 0 0,0 1 0 0 0,-1-1 0 0 0,2 1 1 0 0,-1 1-1 0 0,0-1 0 0 0,-5 10 0 0 0,8-12-197 0 0,-1 1 0 0 0,1 0 0 0 0,-1-1 0 0 0,2 2 0 0 0,0-2 0 0 0,-1 2 0 0 0,0-2 0 0 0,1 2 0 0 0,-1-2 0 0 0,1 2 0 0 0,0-2 0 0 0,0 2 0 0 0,1-2 0 0 0,-1 2 0 0 0,1-2 0 0 0,0 1 0 0 0,0 6 0 0 0,0-8-6 0 0,0 1 1 0 0,0 0-1 0 0,0 0 0 0 0,0-1 1 0 0,0 1-1 0 0,0 0 0 0 0,1-1 0 0 0,-1 0 1 0 0,1 1-1 0 0,-2-1 0 0 0,2 1 1 0 0,0-2-1 0 0,0 1 0 0 0,-1 1 0 0 0,1-1 1 0 0,0 0-1 0 0,-1 0 0 0 0,1-1 1 0 0,0 1-1 0 0,0-1 0 0 0,-1 1 0 0 0,1-1 1 0 0,1 1-1 0 0,-2-1 0 0 0,1 0 1 0 0,0 0-1 0 0,4 0 0 0 0,-3 0-44 0 0,2 0 0 0 0,-1-1 0 0 0,-1 0 0 0 0,2 0 0 0 0,-2 1 0 0 0,1-2 0 0 0,0 1 0 0 0,-1-1 0 0 0,1 1 1 0 0,-1-1-1 0 0,1 0 0 0 0,-1 0 0 0 0,1-1 0 0 0,-2 1 0 0 0,7-6 0 0 0,-7 6 12 0 0,-1 0 0 0 0,1 0 1 0 0,-1 0-1 0 0,1-1 0 0 0,-2 2 1 0 0,1-2-1 0 0,1 0 0 0 0,-1 1 1 0 0,0-1-1 0 0,-1 1 0 0 0,1 0 1 0 0,-1-1-1 0 0,0 1 0 0 0,0-1 1 0 0,1 1-1 0 0,-1-1 0 0 0,0 0 1 0 0,-1 1-1 0 0,1-1 0 0 0,0 1 1 0 0,0-1-1 0 0,-1 0 0 0 0,0 1 1 0 0,0-1-1 0 0,-1-2 0 0 0,1 3 19 0 0,0-2-1 0 0,-1 1 1 0 0,1 1 0 0 0,-1-1-1 0 0,1 1 1 0 0,-1-1-1 0 0,-1 1 1 0 0,2-1 0 0 0,-4-1-1 0 0,4 3 13 0 0,1 0 0 0 0,-2 0-1 0 0,1 1 1 0 0,0-1 0 0 0,0 1 0 0 0,0-1-1 0 0,0 1 1 0 0,0-1 0 0 0,0 1 0 0 0,-1 0-1 0 0,1 0 1 0 0,1 0 0 0 0,-2 0 0 0 0,1 0-1 0 0,0 0 1 0 0,-1 0 0 0 0,1 0 0 0 0,1 0-1 0 0,-2 0 1 0 0,1 0 0 0 0,0 1 0 0 0,-1-1-1 0 0,2 0 1 0 0,-1 1 0 0 0,0 0-1 0 0,0-1 1 0 0,-2 2 0 0 0,0 0 1 0 0,0 0 0 0 0,-1 1 1 0 0,1-1-1 0 0,-1 1 0 0 0,2 0 0 0 0,-2 0 0 0 0,2 0 0 0 0,-1 1 1 0 0,0-1-1 0 0,-4 8 0 0 0,7-10-6 0 0,-2 2 0 0 0,1-1 1 0 0,0 1-1 0 0,0 0 0 0 0,0-1 0 0 0,1 1 0 0 0,-1-1 1 0 0,1 1-1 0 0,-1 0 0 0 0,1 0 0 0 0,0 0 1 0 0,0-1-1 0 0,0 1 0 0 0,0-1 0 0 0,1 1 0 0 0,0 0 1 0 0,-1 0-1 0 0,1 2 0 0 0,4 3-2178 0 0,4-4-4016 0 0</inkml:trace>
</inkml:ink>
</file>

<file path=ppt/ink/ink3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13.940"/>
    </inkml:context>
    <inkml:brush xml:id="br0">
      <inkml:brushProperty name="width" value="0.00882" units="cm"/>
      <inkml:brushProperty name="height" value="0.00882" units="cm"/>
      <inkml:brushProperty name="color" value="#F6630D"/>
    </inkml:brush>
  </inkml:definitions>
  <inkml:trace contextRef="#ctx0" brushRef="#br0">48 0 2569 0 0,'-2'0'926'0'0,"0"0"0"0"0,0 0 1 0 0,1 1-1 0 0,-1-1 1 0 0,0 0-1 0 0,0 1 1 0 0,2 0-1 0 0,-2-1 1 0 0,0 0-1 0 0,0 1 0 0 0,2 0 1 0 0,-2 0-1 0 0,0 0 1 0 0,1 0-1 0 0,0 0 1 0 0,0-1-1 0 0,-2 3 1 0 0,1 0-303 0 0,1-2 1 0 0,-1 2 0 0 0,0 0-1 0 0,0-1 1 0 0,2 1 0 0 0,-2-1 0 0 0,1 1-1 0 0,0-1 1 0 0,-1 5 0 0 0,1-2-514 0 0,1-2 1 0 0,-1 1-1 0 0,0 1 1 0 0,1-2-1 0 0,0 2 1 0 0,0-1-1 0 0,0-1 1 0 0,1 2-1 0 0,-1-1 1 0 0,1-1-1 0 0,0 2 1 0 0,0-1-1 0 0,0-1 1 0 0,3 6-1 0 0,-3-7-88 0 0,1-1 0 0 0,0 1-1 0 0,0 0 1 0 0,-1 0-1 0 0,1-1 1 0 0,0 0-1 0 0,0 1 1 0 0,0-1 0 0 0,0 1-1 0 0,0-2 1 0 0,0 1-1 0 0,1 0 1 0 0,-2 0-1 0 0,2 0 1 0 0,0-1-1 0 0,-2 1 1 0 0,2-1 0 0 0,-1 1-1 0 0,0-1 1 0 0,1 0-1 0 0,-1 0 1 0 0,1 0-1 0 0,-1-1 1 0 0,0 1 0 0 0,4-2-1 0 0,-4 2-49 0 0,1 0 0 0 0,-1-1 0 0 0,0 0 0 0 0,0 1-1 0 0,0-1 1 0 0,1 1 0 0 0,-2-1 0 0 0,2-1 0 0 0,-1 1 0 0 0,0 0 0 0 0,0 0 0 0 0,0-1-1 0 0,0 1 1 0 0,-1-1 0 0 0,1 0 0 0 0,0 1 0 0 0,-1-1 0 0 0,0 0 0 0 0,1 1 0 0 0,-1-2-1 0 0,1 1 1 0 0,-2 1 0 0 0,1-2 0 0 0,0 1 0 0 0,1-4 0 0 0,-1 1-46 0 0,0 0 0 0 0,-1 0 1 0 0,0 0-1 0 0,0-1 0 0 0,-3-9 0 0 0,3 13 49 0 0,0 0 0 0 0,-1 1-1 0 0,1 0 1 0 0,-1-1 0 0 0,1 0-1 0 0,-1 1 1 0 0,1-1 0 0 0,-1 1-1 0 0,0-1 1 0 0,0 1 0 0 0,0 0-1 0 0,0-1 1 0 0,0 1 0 0 0,0-1-1 0 0,0 2 1 0 0,0-1 0 0 0,-1-1-1 0 0,1 1 1 0 0,0 0 0 0 0,-1 0-1 0 0,1 1 1 0 0,-3-2 0 0 0,3 2 19 0 0,-1 0 1 0 0,1 0 0 0 0,0 0 0 0 0,0 0-1 0 0,-1 0 1 0 0,1 0 0 0 0,0 0 0 0 0,0 1-1 0 0,0-1 1 0 0,-1 0 0 0 0,1 1 0 0 0,0-1 0 0 0,0 0-1 0 0,0 1 1 0 0,0 0 0 0 0,0-1 0 0 0,-1 1-1 0 0,1 0 1 0 0,0 1 0 0 0,-21 19-86 0 0,19-17 85 0 0,-7 8-414 0 0,8-9-139 0 0</inkml:trace>
</inkml:ink>
</file>

<file path=ppt/ink/ink3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14.786"/>
    </inkml:context>
    <inkml:brush xml:id="br0">
      <inkml:brushProperty name="width" value="0.00882" units="cm"/>
      <inkml:brushProperty name="height" value="0.00882" units="cm"/>
      <inkml:brushProperty name="color" value="#F6630D"/>
    </inkml:brush>
  </inkml:definitions>
  <inkml:trace contextRef="#ctx0" brushRef="#br0">3 0 12211 0 0,'2'2'12680'0'0,"9"-1"-10325"0"0,-2 0-2611 0 0,-7 0 177 0 0,-1-1 1 0 0,1 1 0 0 0,1-1 0 0 0,-2 1-1 0 0,1-1 1 0 0,0 0 0 0 0,0 0-1 0 0,-1 0 1 0 0,1 0 0 0 0,0 0-1 0 0,0 0 1 0 0,-1-1 0 0 0,4 0 0 0 0,-23 4 438 0 0,16-2-307 0 0,0-1 0 0 0,-1 1 0 0 0,2 0 0 0 0,-1 1 0 0 0,-1-1 0 0 0,2 1 0 0 0,-1-2 0 0 0,0 2 0 0 0,1 0 0 0 0,-1 0 0 0 0,0-1 0 0 0,1 1 0 0 0,-1 0 0 0 0,2 0 0 0 0,-2 0 0 0 0,1 0 0 0 0,0 0 0 0 0,0 0 0 0 0,0 1 0 0 0,1-2 0 0 0,-1 2 0 0 0,0-1 0 0 0,1 0 0 0 0,0 1 0 0 0,-1-1 0 0 0,1 0 0 0 0,0 3 0 0 0,0-5-51 0 0,0 1 0 0 0,0-1 1 0 0,0 0-1 0 0,0 1 0 0 0,0-1 1 0 0,0 0-1 0 0,1 1 0 0 0,-1-1 0 0 0,0 0 1 0 0,0 1-1 0 0,0-1 0 0 0,0 0 1 0 0,1 1-1 0 0,-1-1 0 0 0,0 0 0 0 0,0 1 1 0 0,0-1-1 0 0,1 0 0 0 0,-1 0 0 0 0,0 0 1 0 0,0 0-1 0 0,0 0 0 0 0,0 0 1 0 0,1 0-1 0 0,-1 1 0 0 0,0-1 0 0 0,1 0 1 0 0,-1 0-1 0 0,0 0 0 0 0,1 0 0 0 0,-1 0 1 0 0,1 0-1 0 0,0 0-5 0 0,0 0 0 0 0,-1 0-1 0 0,1 0 1 0 0,0-1 0 0 0,0 1 0 0 0,0 0 0 0 0,0 0 0 0 0,0 0-1 0 0,0-1 1 0 0,-1 1 0 0 0,2-1 0 0 0,17-16-423 0 0,-10-1-1636 0 0,-8 8-861 0 0,-1 10 2854 0 0,0 0 0 0 0,-1-1-1 0 0,1 1 1 0 0,0 0 0 0 0,0 0-1 0 0,0-1 1 0 0,0 1 0 0 0,-1 0-1 0 0,1 0 1 0 0,0 0 0 0 0,0-1-1 0 0,0 1 1 0 0,-1 0 0 0 0,1 0-1 0 0,0 0 1 0 0,0 0 0 0 0,-1 0-1 0 0,1 0 1 0 0,0 0 0 0 0,-1 0-1 0 0,1 0 1 0 0,0 0 0 0 0,0 0-1 0 0,-1 0 1 0 0,1 0 0 0 0,0 0-1 0 0,0 0 1 0 0,0 0 0 0 0,0 0-1 0 0,0 0 1 0 0,-1 0 0 0 0,0 0-1 0 0,1 0 234 0 0,-1 0 0 0 0,0 0 0 0 0,1 1 0 0 0,-1-1 0 0 0,0 0 0 0 0,1 1 0 0 0,-1 0 0 0 0,1-1 0 0 0,0 1 0 0 0,0-1 0 0 0,-1 1 0 0 0,1-1 0 0 0,-1 1 0 0 0,1-1 0 0 0,-1 0 0 0 0,1 1 0 0 0,0 0 0 0 0,-1 0 0 0 0,1-1 0 0 0,0 1 0 0 0,0 0 0 0 0,0 0 0 0 0,0-1 0 0 0,-1 0 0 0 0,1 1 0 0 0,0 0 0 0 0,0 0 0 0 0,0-1 0 0 0,1 1 0 0 0,-1 0 0 0 0,0 0 0 0 0,0-1 0 0 0,0 3-8 0 0,1 0 1 0 0,-1-1-1 0 0,1 0 0 0 0,-1 1 0 0 0,1-1 0 0 0,0 1 1 0 0,1 3-1 0 0,-2-5-164 0 0,1-1-1 0 0,-1 0 1 0 0,0 0 0 0 0,1 1 0 0 0,-1-1 0 0 0,0 0-1 0 0,1 1 1 0 0,-1-1 0 0 0,1 0 0 0 0,-1 1 0 0 0,0-1-1 0 0,1 0 1 0 0,-1 1 0 0 0,0-1 0 0 0,0 0-1 0 0,1 0 1 0 0,-1 0 0 0 0,1 1 0 0 0,-1-1 0 0 0,1 0-1 0 0,0 0 1 0 0,-1 0 0 0 0,1 0 0 0 0,-1 0 0 0 0,1 0-1 0 0,-1 0 1 0 0,0 0 0 0 0,0 0 0 0 0,1 0 0 0 0,-1-1-1 0 0,1 1 1 0 0,-1 0 0 0 0,1 0 0 0 0,-1 0 0 0 0,1-1-1 0 0,-1 1 1 0 0,1 0 0 0 0,-1 0 0 0 0,1-1 0 0 0,-1 1-1 0 0,0 0 1 0 0,0-1 0 0 0,0 1 0 0 0,1-1 0 0 0,-1 1-1 0 0,1 0 1 0 0,1-3-619 0 0</inkml:trace>
</inkml:ink>
</file>

<file path=ppt/ink/ink3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15.463"/>
    </inkml:context>
    <inkml:brush xml:id="br0">
      <inkml:brushProperty name="width" value="0.00882" units="cm"/>
      <inkml:brushProperty name="height" value="0.00882" units="cm"/>
      <inkml:brushProperty name="color" value="#F6630D"/>
    </inkml:brush>
  </inkml:definitions>
  <inkml:trace contextRef="#ctx0" brushRef="#br0">15 13 2881 0 0,'0'-1'496'0'0,"0"1"0"0"0,-1 0 0 0 0,1-1 1 0 0,0 1-1 0 0,-1 0 0 0 0,1 0 1 0 0,-1-1-1 0 0,1 1 0 0 0,-1 0 0 0 0,1 0 1 0 0,0 0-1 0 0,-1 0 0 0 0,1 0 1 0 0,0 0-1 0 0,0 0 0 0 0,-1 0 0 0 0,1 0 1 0 0,-1 0-1 0 0,1 0 0 0 0,-1 0 1 0 0,1 0-1 0 0,-1 0 0 0 0,1 0 0 0 0,-1 0 1 0 0,1 0-1 0 0,-1 0 0 0 0,1 0-126 0 0,0 0 0 0 0,0 1 0 0 0,-1-1 0 0 0,1 1-1 0 0,0-1 1 0 0,-1 1 0 0 0,1 0 0 0 0,0-1 0 0 0,0 1 0 0 0,-1-1 0 0 0,1 1-1 0 0,0-1 1 0 0,0 1 0 0 0,0-1 0 0 0,0 0 0 0 0,0 1 0 0 0,0 1-1 0 0,0 0-1 0 0,0 0 0 0 0,0 0 0 0 0,0 1 0 0 0,1-2 0 0 0,-1 2 0 0 0,1-1 0 0 0,0 0 0 0 0,-1 0-1 0 0,3 4 1 0 0,-3-6-341 0 0,1 1 0 0 0,-1 0-1 0 0,1 0 1 0 0,-1-1 0 0 0,1 0-1 0 0,-1 1 1 0 0,0-1 0 0 0,1 1-1 0 0,0-1 1 0 0,0 1 0 0 0,-1-1 0 0 0,1 1-1 0 0,0-1 1 0 0,0 1 0 0 0,0-1-1 0 0,-1 0 1 0 0,0 0 0 0 0,1 1-1 0 0,0-1 1 0 0,0 0 0 0 0,0 0-1 0 0,0 0 1 0 0,1 0 0 0 0,-1 0-13 0 0,1 0 0 0 0,-1-1 0 0 0,0 1 0 0 0,0-1 0 0 0,0 0 0 0 0,1 1 1 0 0,-1-1-1 0 0,0 0 0 0 0,-1 1 0 0 0,2-1 0 0 0,-1 1 0 0 0,0-1 0 0 0,2-2 0 0 0,-3 2-36 0 0,2 0-1 0 0,-1 0 0 0 0,0-1 0 0 0,0 1 1 0 0,0-1-1 0 0,-1 1 0 0 0,1 0 0 0 0,0-1 1 0 0,0 1-1 0 0,-1-1 0 0 0,1 1 0 0 0,0-1 1 0 0,-1 1-1 0 0,1-1 0 0 0,-1 1 0 0 0,0-1 1 0 0,0 0-1 0 0,0 1 0 0 0,0-1 0 0 0,0 1 1 0 0,0-1-1 0 0,0 0 0 0 0,-1 1 1 0 0,0-3-1 0 0,1 4 14 0 0,0-1 0 0 0,0 1 1 0 0,0 0-1 0 0,0 0 0 0 0,0 0 0 0 0,-1 0 1 0 0,1 0-1 0 0,0 0 0 0 0,0 0 0 0 0,0-1 1 0 0,-1 1-1 0 0,1 0 0 0 0,0 0 0 0 0,0 0 1 0 0,-1 0-1 0 0,1 0 0 0 0,0-1 0 0 0,0 1 1 0 0,-1 0-1 0 0,1 0 0 0 0,0 0 0 0 0,0 0 1 0 0,0 0-1 0 0,0 0 0 0 0,0 0 0 0 0,-1 0 1 0 0,1 0-1 0 0,0 0 0 0 0,0 0 0 0 0,-1 0 1 0 0,1 0-1 0 0,0 0 0 0 0,0 0 0 0 0,-1 0 1 0 0,-9 7 101 0 0,-2 11 664 0 0,12-17-706 0 0,0 0 1 0 0,-1-1-1 0 0,1 0 0 0 0,0 1 1 0 0,-1 0-1 0 0,1 0 1 0 0,0 0-1 0 0,0 0 0 0 0,0 0 1 0 0,0-1-1 0 0,0 1 1 0 0,0 0-1 0 0,0 0 0 0 0,0 0 1 0 0,0 0-1 0 0,0 0 1 0 0,0 0-1 0 0,1 1 0 0 0,-1-2-40 0 0,1 0-1 0 0,-1 0 0 0 0,0 0 0 0 0,0 0 1 0 0,0 0-1 0 0,0 0 0 0 0,0 1 0 0 0,0-1 1 0 0,0 0-1 0 0,0 0 0 0 0,0 0 0 0 0,1 0 0 0 0,-1 0 1 0 0,0 0-1 0 0,0 0 0 0 0,0 0 0 0 0,1 0 1 0 0,-1 0-1 0 0,0 0 0 0 0,0 0 0 0 0,0 0 1 0 0,1 0-1 0 0,-1 0 0 0 0,0 0 0 0 0,0 0 1 0 0,0 0-1 0 0,1 0 0 0 0,-1-1 0 0 0,8-6-51 0 0,4-10-146 0 0,-11 14-45 0 0,0 0 1 0 0,1-1 0 0 0,1 2-1 0 0,2-5 1 0 0,-4 7 199 0 0,-1 0-1 0 0,0 0 1 0 0,0 0 0 0 0,0 0 0 0 0,0 0 0 0 0,0 0 0 0 0,0 0-1 0 0,0 0 1 0 0,0 0 0 0 0,0 0 0 0 0,0 0 0 0 0,0 1-1 0 0,1-1 1 0 0,-1 0 0 0 0,0 0 0 0 0,0 0 0 0 0,0 0-1 0 0,0 0 1 0 0,0 0 0 0 0,0 1 0 0 0,0-1 0 0 0,1 0 0 0 0,-1 0-1 0 0,0 0 1 0 0,0 0 0 0 0,0 1 0 0 0,0-1 0 0 0,0 0-1 0 0,0 0 1 0 0,0 0 0 0 0,0 0 0 0 0,0 0 0 0 0,0 0 0 0 0,0 0-1 0 0,0 0 1 0 0,0 0 0 0 0,0 1 0 0 0,0-1 0 0 0,0 0-1 0 0,0 0 1 0 0,0 0 0 0 0,-1 1 0 0 0,2 0-1781 0 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9 5617 0 0,'13'0'10252'0'0,"0"-3"-4006"0"0,3 0-2797 0 0,8-4-3375 0 0,22-5-141 0 0,-44 12-377 0 0,7-1 1583 0 0,-6-1-2360 0 0</inkml:trace>
</inkml:ink>
</file>

<file path=ppt/ink/ink3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0.434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10 22 1840 0 0,'-3'-11'2622'0'0,"1"1"13024"0"0,1 38-10502 0 0,0 13-3439 0 0,-1 21-1480 0 0,2 93-79 0 0,1-75-92 0 0,1-12 190 0 0,-2 32 219 0 0,0-86-373 0 0,-2 9 131 0 0,2-18-708 0 0,1-8-776 0 0,0-6-447 0 0,1 1 831 0 0</inkml:trace>
</inkml:ink>
</file>

<file path=ppt/ink/ink3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1.611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4 18 1352 0 0,'1'-2'3765'0'0,"6"-14"10778"0"0,-6 33-12428 0 0,0 0 0 0 0,-2 17 0 0 0,0-17-1858 0 0,-4 52 451 0 0,1 36-147 0 0,17 78 590 0 0,-11-159-1134 0 0,-1-19 30 0 0,0 0 1 0 0,0 0-1 0 0,-1 1 0 0 0,0-1 1 0 0,0 0-1 0 0,0 1 1 0 0,-2 8-1 0 0,2-14-61 0 0,-1 0 0 0 0,1 0 0 0 0,0 0 0 0 0,0 0 1 0 0,0 1-1 0 0,0-1 0 0 0,-1 0 0 0 0,1 0 0 0 0,0 0 0 0 0,0 0 0 0 0,0 0 0 0 0,0 0 0 0 0,0 0 0 0 0,0 0 0 0 0,0 0 0 0 0,0 0 0 0 0,0 0 0 0 0,-1 0 0 0 0,1 0 0 0 0,0 0 0 0 0,0 0 1 0 0,0 0-1 0 0,-1 0 0 0 0,1 0 0 0 0,0 0 0 0 0,0 0 0 0 0,0 0 0 0 0,-1-1 0 0 0,1 1 0 0 0,0 0 0 0 0,0 0 0 0 0,0 0 0 0 0,0 0 0 0 0,0 0 0 0 0,-1 0 0 0 0,1-1 0 0 0,0 1 1 0 0,0 0-1 0 0,0 0 0 0 0,0 0 0 0 0,0 0 0 0 0,0 0 0 0 0,0 0 0 0 0,-1 0 0 0 0,1 0 0 0 0,0-1 0 0 0,-8-9-2148 0 0,6 8-39 0 0,1 0 1050 0 0</inkml:trace>
</inkml:ink>
</file>

<file path=ppt/ink/ink3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2.372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9 18 1120 0 0,'0'0'142'0'0,"-1"0"1"0"0,1 1-1 0 0,-1-1 0 0 0,1 0 0 0 0,-1 0 1 0 0,1 0-1 0 0,-1 1 0 0 0,1-1 0 0 0,-1 0 0 0 0,1 1 1 0 0,-1-1-1 0 0,1 0 0 0 0,0 1 0 0 0,0-1 1 0 0,0 1-1 0 0,0-1 0 0 0,-1 0 0 0 0,1 0 0 0 0,0 1 1 0 0,0-1-1 0 0,-1 0 0 0 0,1 1 0 0 0,0 0 0 0 0,0-1 1 0 0,0 1-1 0 0,0-1 0 0 0,-1 2 0 0 0,2-2 374 0 0,-1 0-1 0 0,0 1 0 0 0,1-1 1 0 0,-1 1-1 0 0,1 0 0 0 0,-1-1 1 0 0,0 1-1 0 0,0-1 0 0 0,1 1 1 0 0,-1-1-1 0 0,1 1 0 0 0,-1-1 1 0 0,1 0-1 0 0,0 0 0 0 0,-1 1 1 0 0,2 0-1 0 0,16 6 9577 0 0,-9-5-7441 0 0,9-1-2232 0 0,21-3 1 0 0,0 0 66 0 0,-35 2-380 0 0,1-1 1 0 0,-1 1-1 0 0,0 0 0 0 0,0-1 0 0 0,1 0 0 0 0,-1-1 0 0 0,0 1 0 0 0,5-3 0 0 0,-7 4-252 0 0,-1-1-1 0 0,1 0 1 0 0,0 0 0 0 0,-1 0-1 0 0,0 0 1 0 0,1 0-1 0 0,-1-1 1 0 0,1 1 0 0 0,-1 0-1 0 0,0 0 1 0 0,0-1-1 0 0,1 0 1 0 0,-1 1 0 0 0,0 0-1 0 0,0-1 1 0 0,-1 0-1 0 0,1 0 1 0 0,0 1 0 0 0,-1-1-1 0 0,1 0 1 0 0,0-2-1 0 0</inkml:trace>
</inkml:ink>
</file>

<file path=ppt/ink/ink3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3.453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9 9 2881 0 0,'0'-9'18522'0'0,"1"15"-17498"0"0,2 41 549 0 0,2 36 1673 0 0,-8-3-3008 0 0,0-40-15 0 0,4 40 1 0 0,0-69-208 0 0,1 9 88 0 0,-1 0 1 0 0,-1 0 0 0 0,0 0-1 0 0,-6 26 1 0 0,6-45-173 0 0,0-1-1 0 0,0 1 1 0 0,0-1-1 0 0,0 0 1 0 0,0 1-1 0 0,-1-1 1 0 0,1 0-1 0 0,0 1 1 0 0,0-1-1 0 0,0 0 1 0 0,0 1-1 0 0,0-1 1 0 0,0 0-1 0 0,0 0 1 0 0,0 0-1 0 0,0 0 1 0 0,-1 0-1 0 0,1 1 1 0 0,0-1-1 0 0,-1 0 1 0 0,1 0-1 0 0,0 1 1 0 0,-1-1-1 0 0,1 0-7 0 0,-1 0 0 0 0,1 0 0 0 0,0 0 0 0 0,-1 0 0 0 0,1 0 0 0 0,0-1 1 0 0,-1 1-1 0 0,1 0 0 0 0,0 0 0 0 0,0 0 0 0 0,0 0 0 0 0,0-1 0 0 0,0 1 0 0 0,0 0 0 0 0,-1 0 0 0 0,1 0 0 0 0,0 0 0 0 0,0 0 0 0 0,0 0 0 0 0,0-1 0 0 0,-1 1 1 0 0,1 0-1 0 0,0 0 0 0 0,0-1 0 0 0,0 1 0 0 0,0 0 0 0 0,0-1 0 0 0,-1-2-891 0 0</inkml:trace>
</inkml:ink>
</file>

<file path=ppt/ink/ink3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4.220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1 0 5065 0 0,'4'3'10688'0'0,"3"1"-3647"0"0,6 0-1864 0 0,3 1-4470 0 0,16 1-3742 0 0,-14-4 4910 0 0,1-1-1433 0 0,29 0 0 0 0,8-1-222 0 0,-55 0-233 0 0,0 0-1 0 0,0 0 0 0 0,-1 0 1 0 0,1 1-1 0 0,-1-1 1 0 0,1 0-1 0 0,0 0 1 0 0,0 0-1 0 0,0 1 1 0 0,-1-1-1 0 0,1 0 1 0 0,-1 0-1 0 0,0 0 0 0 0,1 1 1 0 0,0-1-1 0 0,-1 1 1 0 0,2 0-1 0 0,-2 5-2636 0 0</inkml:trace>
</inkml:ink>
</file>

<file path=ppt/ink/ink3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31.060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0 61 2032 0 0,'1'-2'768'0'0,"-1"-1"0"0"0,1 1-1 0 0,-1-1 1 0 0,1 0 0 0 0,-1 1 0 0 0,1 0-1 0 0,0 0 1 0 0,0-1 0 0 0,1 1-1 0 0,-1 0 1 0 0,0 0 0 0 0,1-1-1 0 0,2-2 1 0 0,-2 10 3882 0 0,1 7-2540 0 0,4 94 2824 0 0,-7 51-2763 0 0,0-133-1869 0 0,-1 1-313 0 0,0 13-114 0 0,5 55 0 0 0,-3-93 32 0 0,0-6-156 0 0,2-15-545 0 0,3-28-770 0 0,-5 33-506 0 0,1 0-3707 0 0,5-26 0 0 0,-9 53 8372 0 0,0 0-1 0 0,2 0 1 0 0,0 17-1 0 0,0 0-509 0 0,-2-3-729 0 0,-3 54 1077 0 0,2-121-3974 0 0,4 25 566 0 0,0 12 697 0 0,0 0 1 0 0,-1 0-1 0 0,1 0 0 0 0,-1 0 1 0 0,-1 0-1 0 0,1 0 0 0 0,-3-8 1 0 0,3 13 282 0 0,0 0-1 0 0,0 0 1 0 0,0 0 0 0 0,0 0 0 0 0,0 0 0 0 0,0 0 0 0 0,0 0 0 0 0,0-1 0 0 0,0 1-1 0 0,0 0 1 0 0,0 0 0 0 0,-1 0 0 0 0,1 0 0 0 0,0 0 0 0 0,0 0 0 0 0,0 0 0 0 0,0 0-1 0 0,0 0 1 0 0,0 0 0 0 0,0 0 0 0 0,0 0 0 0 0,0 0 0 0 0,0 0 0 0 0,0 0 0 0 0,0 0-1 0 0,0 0 1 0 0,0 0 0 0 0,0 0 0 0 0,0 0 0 0 0,0 0 0 0 0,0 0 0 0 0,-1 0 0 0 0,1 0-1 0 0,0 0 1 0 0,0 0 0 0 0,0 0 0 0 0,0 0 0 0 0,0 0 0 0 0,0 0 0 0 0,0 0 0 0 0,0 0-1 0 0,0 0 1 0 0,0 0 0 0 0,0 0 0 0 0,0 0 0 0 0,0 0 0 0 0,0 0 0 0 0,0 0 0 0 0,-1 0-1 0 0,1 0 1 0 0,0 0 0 0 0,0 0 0 0 0,0 0 0 0 0,0 0 0 0 0,0 0 0 0 0,0 0 0 0 0,0 0-1 0 0,0 0 1 0 0,0 0 0 0 0,0 1 0 0 0,0-1 0 0 0,0 0 0 0 0,0 0 0 0 0,0 0 0 0 0,0 0-1 0 0,0 0 1 0 0,0 0 0 0 0,0 0 0 0 0,-2 7 785 0 0,-2 7 351 0 0,1 0-637 0 0,1-4-182 0 0,0 0 1 0 0,1 0-1 0 0,-1 0 0 0 0,2-1 1 0 0,0 2-1 0 0,2 15 0 0 0,-2-26-321 0 0,0 0 0 0 0,0 0-1 0 0,0 0 1 0 0,0 0-1 0 0,0 0 1 0 0,0 0 0 0 0,0 0-1 0 0,0 0 1 0 0,0 0-1 0 0,0 0 1 0 0,0 0-1 0 0,0 0 1 0 0,0 0 0 0 0,0 0-1 0 0,0 0 1 0 0,0 0-1 0 0,0 0 1 0 0,0 0 0 0 0,0 0-1 0 0,0 0 1 0 0,0 0-1 0 0,0 0 1 0 0,0 0-1 0 0,0 0 1 0 0,0 0 0 0 0,1 0-1 0 0,-1 0 1 0 0,0 0-1 0 0,0 0 1 0 0,0 0 0 0 0,0 0-1 0 0,0 0 1 0 0,0 0-1 0 0,0 0 1 0 0,0 0 0 0 0,0 0-1 0 0,0 0 1 0 0,0 0-1 0 0,0 0 1 0 0,0 0-1 0 0,1 0 1 0 0,-1 0 0 0 0,0 0-1 0 0,0 0 1 0 0,0 0-1 0 0,0 0 1 0 0,0 0 0 0 0,0 0-1 0 0,0 0 1 0 0,0 0-1 0 0,0 0 1 0 0,0 0-1 0 0,0 0 1 0 0,0 0 0 0 0,0 0-1 0 0,0 0 1 0 0,0 0-1 0 0,0 0 1 0 0,0 0 0 0 0,0 0-1 0 0,0 0 1 0 0,0 0-1 0 0,0 0 1 0 0,0 0 0 0 0,0 0-1 0 0,0 0 1 0 0,5-8 33 0 0,1-11-678 0 0,3-31-4832 0 0,-15 96 10581 0 0,5-34-4687 0 0,1 1 1 0 0,0 1 0 0 0,3 18 0 0 0,-3-43-498 0 0,1 0 1 0 0,1-12-1 0 0,0 3-309 0 0,-2 19 341 0 0,1-11-349 0 0,0 2 1 0 0,5-18-1 0 0,2 9-4061 0 0,-7 22 757 0 0,-1 16 5392 0 0,-1-12-1442 0 0,1 6 1590 0 0,-1 1 0 0 0,1-1 1 0 0,2 25-1 0 0,-2-38-1841 0 0,0 0 0 0 0,0 0 0 0 0,0 0 0 0 0,0 0 0 0 0,0 0 1 0 0,0 0-1 0 0,0 0 0 0 0,0 0 0 0 0,0 0 0 0 0,0 0 0 0 0,0 0 0 0 0,0 0 1 0 0,0 0-1 0 0,-1 0 0 0 0,1 0 0 0 0,0 0 0 0 0,1 0 0 0 0,-1 0 0 0 0,0 0 1 0 0,0 1-1 0 0,0-1 0 0 0,0 0 0 0 0,0 0 0 0 0,0 0 0 0 0,0 0 0 0 0,0 0 1 0 0,0 0-1 0 0,0 0 0 0 0,0 0 0 0 0,0 0 0 0 0,0 0 0 0 0,0 1 0 0 0,0-1 1 0 0,0 0-1 0 0,0 0 0 0 0,0 0 0 0 0,0 0 0 0 0,0 0 0 0 0,1 0 0 0 0,-1 0 1 0 0,0 0-1 0 0,0 0 0 0 0,0 0 0 0 0,0 0 0 0 0,0 0 0 0 0,0 0 0 0 0,0 0 0 0 0,0 0 1 0 0,0 0-1 0 0,1 0 0 0 0,-1 0 0 0 0,0 0 0 0 0,0 0 0 0 0,0 0 0 0 0,0 0 1 0 0,0 0-1 0 0,0 0 0 0 0,0 0 0 0 0,0 0 0 0 0,0 0 0 0 0,1 0 0 0 0,-1 0 1 0 0,3-7-132 0 0,0-10-180 0 0,0-3-490 0 0,2-21-4682 0 0,3-1-4647 0 0,-9 75 16921 0 0,0-12-2586 0 0,-1-8-3068 0 0,1-1 0 0 0,1 0 0 0 0,0 1 0 0 0,0-1 1 0 0,4 15-1 0 0,-4-27-1134 0 0,0 0 1 0 0,0 0-1 0 0,0 0 1 0 0,0 1-1 0 0,0-1 0 0 0,0 0 1 0 0,0 0-1 0 0,0 0 1 0 0,0 0-1 0 0,0 0 0 0 0,0 0 1 0 0,0 0-1 0 0,0 0 1 0 0,0 0-1 0 0,0 0 0 0 0,0 0 1 0 0,0 0-1 0 0,0 0 1 0 0,0 0-1 0 0,0 0 0 0 0,0 0 1 0 0,0 0-1 0 0,0 0 1 0 0,0 0-1 0 0,0 0 0 0 0,0 0 1 0 0,0 0-1 0 0,0 0 1 0 0,0 0-1 0 0,0 0 0 0 0,0 1 1 0 0,0-1-1 0 0,0 0 1 0 0,0 0-1 0 0,0 0 0 0 0,0 0 1 0 0,0 0-1 0 0,0 0 1 0 0,0 0-1 0 0,0 0 0 0 0,0 0 1 0 0,0 0-1 0 0,0 0 1 0 0,0 0-1 0 0,0 0 0 0 0,0 0 1 0 0,0 0-1 0 0,0 0 1 0 0,1 0-1 0 0,-1 0 0 0 0,0 0 1 0 0,0 0-1 0 0,0 0 1 0 0,0 0-1 0 0,0 0 0 0 0,0 0 1 0 0,0 0-1 0 0,0 0 1 0 0,0 0-1 0 0,0 0 0 0 0,0 0 1 0 0,0 0-1 0 0,1 0 1 0 0,-1-1-1 0 0,0 1 0 0 0,0 0 1 0 0,0 0-1 0 0,4-6 1 0 0,0-12-129 0 0,0-11-266 0 0,-3 17-231 0 0,1 0 0 0 0,0 1 0 0 0,0-1 0 0 0,1 0 0 0 0,7-15 0 0 0,-10 55 1930 0 0,-2-4-561 0 0,0 1 0 0 0,2 25 1 0 0,1-44-698 0 0,0-6-65 0 0,2-10-140 0 0,1-13-161 0 0,1-9-1991 0 0,14-55 0 0 0,-19 114 4869 0 0,-1-4-1078 0 0,-2-8-1081 0 0,1 2 0 0 0,2-2 0 0 0,0 2 1 0 0,4 30-1 0 0,-2-42-351 0 0,-1-4-39 0 0,3-11-81 0 0,0-17-263 0 0,-2-7-410 0 0,-2 20 417 0 0,1 0-1 0 0,0 0 1 0 0,1 0 0 0 0,1 1 0 0 0,5-19-1 0 0,-9 62 860 0 0,0-16 39 0 0,-1 0-188 0 0,1 0 0 0 0,0 0 0 0 0,1 0 0 0 0,3 19 0 0 0,-2-30-244 0 0,0-4-80 0 0,1-8-99 0 0,0-12-124 0 0,-2 18 141 0 0,2-26-417 0 0,-1-1-1 0 0,3 0 0 0 0,10-38 0 0 0,-17 109 702 0 0,0-11 261 0 0,-1-11-178 0 0,2 1 0 0 0,1 0 0 0 0,1 22 0 0 0,0-40-328 0 0,0-5-12 0 0,2-9-36 0 0,0-16-247 0 0,-1-121-1915 0 0,-3 50-4995 0 0,1 96 5355 0 0,-1 4 1290 0 0,-3 11 2060 0 0,-2 18 3044 0 0,5-24-3925 0 0,-3 14 345 0 0,-1 2 0 0 0,3 0-1 0 0,0 0 1 0 0,1 33-1 0 0,4-103-1718 0 0,6-159-3904 0 0,-16 280 8158 0 0,-2 14-3043 0 0,9-75-403 0 0,-1 28 354 0 0,2 70 0 0 0,-5-178-2153 0 0,4 0 1 0 0,13-135-1 0 0,-11 192 2032 0 0,-3 17 1135 0 0,-3 17 32 0 0,-9 51-561 0 0,-7 129 1 0 0,19-333-4134 0 0,-2-8-4262 0 0,4 103 6944 0 0,-7 62 6015 0 0,-1 91-992 0 0,10 59-3494 0 0,0-160-934 0 0,-2-15-54 0 0,-1-11 0 0 0,-20-315-2676 0 0,21 323 2811 0 0,-2 16 1168 0 0,-2 21-517 0 0,2 190 37 0 0,-4-353-2082 0 0,7 52-361 0 0,0-17-1652 0 0,-8 123 7329 0 0,1 28-3505 0 0,4 1 0 0 0,4 77 0 0 0,-2-133-539 0 0,0-2-8 0 0,0 0 1 0 0,0 0-1 0 0,0 0 0 0 0,1 0 0 0 0,-1 0 0 0 0,0 0 0 0 0,1 0 0 0 0,0-1 0 0 0,-1 1 1 0 0,1 0-1 0 0,1 3 0 0 0,-2-6-5 0 0,1-1 0 0 0,-1 1 0 0 0,1 1 0 0 0,-1-2 0 0 0,1 1 0 0 0,-1 0 0 0 0,0-1 0 0 0,0 2 0 0 0,0-1 0 0 0,1-1 0 0 0,-2-1 0 0 0,-4-168-2940 0 0,-1 72 1595 0 0,3 71 1160 0 0,1-6 497 0 0,3 12 3004 0 0,0 25-3179 0 0,-1 2-1 0 0,0-2 1 0 0,1 2-1 0 0,0-2 0 0 0,1 6 1 0 0,1 4-29 0 0,0 5-70 0 0,-3-12-17 0 0,1 1-1 0 0,-1-1 1 0 0,2 0-1 0 0,-1 1 1 0 0,2-1 0 0 0,-2 0-1 0 0,5 7 1 0 0,-6-13-21 0 0,0 0 0 0 0,0 0-1 0 0,0 0 1 0 0,0 0 0 0 0,0 0 0 0 0,0 0 0 0 0,0 0-1 0 0,0 0 1 0 0,0 0 0 0 0,0 0 0 0 0,0 0 0 0 0,0 0-1 0 0,0 0 1 0 0,0 0 0 0 0,0 0 0 0 0,0 0 0 0 0,0 1-1 0 0,0-1 1 0 0,0 0 0 0 0,1 0 0 0 0,-1 0 0 0 0,0 0-1 0 0,0 0 1 0 0,0 0 0 0 0,0 0 0 0 0,0 0 0 0 0,0 0-1 0 0,0 0 1 0 0,0 0 0 0 0,0 0 0 0 0,1 0 0 0 0,-1 0-1 0 0,0 0 1 0 0,0 0 0 0 0,0 0 0 0 0,0 0 0 0 0,0 0-1 0 0,0 0 1 0 0,0 0 0 0 0,0 0 0 0 0,0 0 0 0 0,1 0-1 0 0,-1 0 1 0 0,0 0 0 0 0,0 0 0 0 0,0 0 0 0 0,0 0-1 0 0,0 0 1 0 0,0-1 0 0 0,0 1 0 0 0,0 0 0 0 0,0 0-1 0 0,0 0 1 0 0,0 0 0 0 0,0 0 0 0 0,0 0 0 0 0,1 0-1 0 0,1-7-27 0 0,-1-10-37 0 0,-2-48-489 0 0,0 54 327 0 0,-1 2 1 0 0,1-1-1 0 0,-2 2 0 0 0,-4-18 1 0 0,3 20-37 0 0,2 5 179 0 0,-1 11 283 0 0,2 17 478 0 0,5 13 63 0 0,-3-36-684 0 0,-1 0-1 0 0,1 1 0 0 0,0-1 1 0 0,0-1-1 0 0,1 2 0 0 0,-1-2 1 0 0,4 7-1 0 0,-5-10-53 0 0,0 0 0 0 0,0 0-1 0 0,0 0 1 0 0,0 0 0 0 0,0 0 0 0 0,0 0 0 0 0,0 0-1 0 0,0 0 1 0 0,0 0 0 0 0,0 0 0 0 0,0 0 0 0 0,0-1-1 0 0,0 1 1 0 0,0 0 0 0 0,1 0 0 0 0,-1 0 0 0 0,0 0 0 0 0,0 0-1 0 0,0 0 1 0 0,0 0 0 0 0,0 0 0 0 0,0 0 0 0 0,0 0-1 0 0,0 0 1 0 0,0 0 0 0 0,0 0 0 0 0,0 0 0 0 0,0 0-1 0 0,0 0 1 0 0,0 0 0 0 0,0 0 0 0 0,0 0 0 0 0,0 0 0 0 0,0 0-1 0 0,0 0 1 0 0,0 0 0 0 0,0 0 0 0 0,0 0 0 0 0,0 0-1 0 0,0 0 1 0 0,0 0 0 0 0,0 0 0 0 0,0 0 0 0 0,0 0-1 0 0,0 0 1 0 0,0 0 0 0 0,0 0 0 0 0,0 0 0 0 0,0 0 0 0 0,0 0-1 0 0,0 0 1 0 0,0 0 0 0 0,0 0 0 0 0,0 0 0 0 0,0 0-1 0 0,0 0 1 0 0,0 0 0 0 0,0 0 0 0 0,0 0 0 0 0,0 0-1 0 0,0 0 1 0 0,0 0 0 0 0,1 0 0 0 0,-1 0 0 0 0,0 0 0 0 0,0 0-1 0 0,0 0 1 0 0,0 0 0 0 0,1-7 25 0 0,-1-7-122 0 0,1-19-173 0 0,0 21-267 0 0,-1 0-1 0 0,0 0 1 0 0,-3-15-1 0 0,3 28 528 0 0,0-1 0 0 0,0 0-1 0 0,0 0 1 0 0,0 0-1 0 0,0 0 1 0 0,0 0-1 0 0,0 0 1 0 0,0 0 0 0 0,0 0-1 0 0,0 0 1 0 0,0 0-1 0 0,0 0 1 0 0,0 0 0 0 0,0 0-1 0 0,0 0 1 0 0,0 0-1 0 0,0 0 1 0 0,0 0 0 0 0,0 0-1 0 0,0 0 1 0 0,0 0-1 0 0,0 0 1 0 0,0 0-1 0 0,0 0 1 0 0,0 0 0 0 0,-1 0-1 0 0,1 0 1 0 0,0 0-1 0 0,0 0 1 0 0,0 0 0 0 0,0 0-1 0 0,0 0 1 0 0,0 0-1 0 0,0 0 1 0 0,0 0-1 0 0,0 0 1 0 0,0 0 0 0 0,0 0-1 0 0,0 0 1 0 0,0 0-1 0 0,0 0 1 0 0,0 0 0 0 0,0 0-1 0 0,0 0 1 0 0,0 0-1 0 0,0 0 1 0 0,0 0-1 0 0,0 0 1 0 0,0 0 0 0 0,0 0-1 0 0,0 0 1 0 0,0 0-1 0 0,0 0 1 0 0,0 0 0 0 0,0 0-1 0 0,0 0 1 0 0,-3 7 446 0 0,-1 9 460 0 0,3-13-854 0 0,-4 29 893 0 0,5-29-878 0 0,-1-1 1 0 0,1 0-1 0 0,0 1 1 0 0,0-1 0 0 0,1 0-1 0 0,-1 0 1 0 0,1 0 0 0 0,-1 1-1 0 0,0-1 1 0 0,1 0-1 0 0,1 3 1 0 0,-2-5-60 0 0,0 0 0 0 0,0 1 0 0 0,0-1 0 0 0,0 0 1 0 0,1 0-1 0 0,-1 0 0 0 0,0 0 0 0 0,0 1 0 0 0,0-1 0 0 0,0 0 0 0 0,0 0 0 0 0,0 0 1 0 0,1 0-1 0 0,-1 0 0 0 0,0 1 0 0 0,0-1 0 0 0,0 0 0 0 0,0 0 0 0 0,1 0 0 0 0,-1 0 0 0 0,0 0 1 0 0,0 0-1 0 0,0 0 0 0 0,0 0 0 0 0,0 0 0 0 0,0 0 0 0 0,0 0 0 0 0,0 0 0 0 0,1 0 1 0 0,-1 0-1 0 0,0 0 0 0 0,0 0 0 0 0,0 0 0 0 0,1 0 0 0 0,-1 0 0 0 0,0 0 0 0 0,0 0 1 0 0,0 0-1 0 0,0 0 0 0 0,1-1 0 0 0,5-6 7 0 0,1-10-35 0 0,-4 8-150 0 0,-1 1 0 0 0,0-1 0 0 0,-1 0 0 0 0,0 1 0 0 0,-1-1 0 0 0,1 1 0 0 0,-2-18 0 0 0,1 30 304 0 0,0 1 0 0 0,0 0 1 0 0,0 9-1 0 0,-2 4 185 0 0,2-4-139 0 0,0 2-62 0 0,0-1 1 0 0,2 1-1 0 0,-1-1 1 0 0,1 1-1 0 0,6 16 1 0 0,-8-31-108 0 0,0-1-1 0 0,0 0 1 0 0,0 0 0 0 0,0 1 0 0 0,0-1 0 0 0,0 0 0 0 0,0 0 0 0 0,0 0-1 0 0,0 1 1 0 0,0-1 0 0 0,0 0 0 0 0,0 0 0 0 0,1 1 0 0 0,-1-1 0 0 0,0 0-1 0 0,0 0 1 0 0,0 1 0 0 0,0-1 0 0 0,0 0 0 0 0,1 0 0 0 0,-1 0 0 0 0,0 0 0 0 0,0 1-1 0 0,0-1 1 0 0,0 0 0 0 0,0 0 0 0 0,0 0 0 0 0,0 0 0 0 0,0 0 0 0 0,1 0-1 0 0,-1 0 1 0 0,0 0 0 0 0,0 0 0 0 0,1 0 0 0 0,-1 0 0 0 0,0 0 0 0 0,1 0 0 0 0,2-8 7 0 0,0-15-89 0 0,-3-27-496 0 0,-1 33 223 0 0,1 0 0 0 0,4-28 0 0 0,-7 68 777 0 0,1 1-1 0 0,1 0 1 0 0,2 0 0 0 0,5 44 0 0 0,-6-67-405 0 0,0 1 0 0 0,0-2 0 0 0,1 1 0 0 0,-1 0 1 0 0,0 1-1 0 0,1-1 0 0 0,-1 0 0 0 0,1-1 0 0 0,-1 2 0 0 0,1-1 0 0 0,0 2 0 0 0,1-6 56 0 0,1-6-146 0 0,0-38-327 0 0,-2 27-132 0 0,2 0 0 0 0,7-37 1 0 0,-13 118 1753 0 0,3-46-931 0 0,-1-7-191 0 0,0 1-1 0 0,1-2 1 0 0,0 2 0 0 0,1-1 0 0 0,0 0 0 0 0,-1 0 0 0 0,5 13 0 0 0,-5-21-101 0 0,0 0 0 0 0,0 0 0 0 0,0 0 0 0 0,0 0 0 0 0,0 0 0 0 0,0 0 0 0 0,0 0 0 0 0,0 1 0 0 0,0-1 0 0 0,0 0 0 0 0,0 0 0 0 0,0 0 1 0 0,0 0-1 0 0,0 0 0 0 0,1 0 0 0 0,-1 0 0 0 0,0 0 0 0 0,0 1 0 0 0,0-1 0 0 0,0 0 0 0 0,0 0 0 0 0,0 0 0 0 0,0 0 0 0 0,0 0 0 0 0,0 0 0 0 0,0 0 1 0 0,0 0-1 0 0,0 0 0 0 0,0 0 0 0 0,0 0 0 0 0,0 0 0 0 0,0 0 0 0 0,0 0 0 0 0,0 0 0 0 0,0 0 0 0 0,0 0 0 0 0,0 0 0 0 0,0 0 0 0 0,0 0 0 0 0,0 0 1 0 0,1 0-1 0 0,-1 0 0 0 0,0 0 0 0 0,0 0 0 0 0,0 0 0 0 0,0 0 0 0 0,0 0 0 0 0,0 0 0 0 0,0 0 0 0 0,0 0 0 0 0,1 0 0 0 0,-1 0 0 0 0,0 0 0 0 0,0 0 1 0 0,0 0-1 0 0,0 0 0 0 0,0 0 0 0 0,0 0 0 0 0,3-8 19 0 0,0-9-46 0 0,2-33-519 0 0,-3 25-473 0 0,9-47-1 0 0,-13 86 1266 0 0,-2 24 0 0 0,3-23 79 0 0,1-7-162 0 0,-1-4-59 0 0,1 1 0 0 0,-1-2 0 0 0,1 1 0 0 0,0 1 0 0 0,0-2 0 0 0,1 2 0 0 0,-1-1-1 0 0,1-1 1 0 0,1 7 0 0 0,-1-13-104 0 0,0 1 1 0 0,1-1-1 0 0,-2 0 0 0 0,1 1 1 0 0,-1-1-1 0 0,1-2 0 0 0,1-4-31 0 0,0-5-289 0 0,0 0 0 0 0,1-1 1 0 0,0 2-1 0 0,2-2 0 0 0,8-18 0 0 0,-13 33 319 0 0,0 0 0 0 0,0 0-1 0 0,0 0 1 0 0,0 0 0 0 0,0 0 0 0 0,0 0 0 0 0,0 0 0 0 0,0 0 0 0 0,0 0 0 0 0,0 0-1 0 0,0 0 1 0 0,0 0 0 0 0,0 0 0 0 0,0 0 0 0 0,0 0 0 0 0,0 0 0 0 0,0 1 0 0 0,0-1 0 0 0,0 0-1 0 0,0 0 1 0 0,0 0 0 0 0,0 0 0 0 0,0 0 0 0 0,0 0 0 0 0,0 0 0 0 0,0 0 0 0 0,0 0 0 0 0,0 0-1 0 0,0 0 1 0 0,0 0 0 0 0,0 0 0 0 0,0 0 0 0 0,0 0 0 0 0,0 0 0 0 0,0 0 0 0 0,0 0 0 0 0,0 0-1 0 0,0 0 1 0 0,0 0 0 0 0,0 0 0 0 0,0 0 0 0 0,1 0 0 0 0,-1 0 0 0 0,0 0 0 0 0,0 0 0 0 0,0 0-1 0 0,0 0 1 0 0,0 0 0 0 0,0 0 0 0 0,0 0 0 0 0,0 0 0 0 0,0 0 0 0 0,0 0 0 0 0,0 0 0 0 0,0 0-1 0 0,0 0 1 0 0,0 0 0 0 0,0 0 0 0 0,1 9 172 0 0,-1 9 306 0 0,-1-11-338 0 0,0-1 1 0 0,1 0-1 0 0,0 1 0 0 0,0-1 1 0 0,0 0-1 0 0,1 1 0 0 0,0-1 1 0 0,3 9-1 0 0,-4-15-139 0 0,0 0 0 0 0,0 0 0 0 0,0 0 0 0 0,0 0 0 0 0,0 0 0 0 0,0 0 0 0 0,0 0 0 0 0,0 0 1 0 0,0 0-1 0 0,0 1 0 0 0,0-1 0 0 0,0 0 0 0 0,0 0 0 0 0,0 0 0 0 0,0 0 0 0 0,0 0 0 0 0,0 0 0 0 0,0 0 0 0 0,0 0 0 0 0,0 0 0 0 0,1 0 0 0 0,-1 0 0 0 0,0 0 0 0 0,0 0 0 0 0,0 0 0 0 0,0 0 0 0 0,0 0 0 0 0,0 0 0 0 0,0 0 0 0 0,0 0 0 0 0,0 0 0 0 0,0 0 1 0 0,0 0-1 0 0,0 0 0 0 0,0 0 0 0 0,0 0 0 0 0,0 0 0 0 0,0 0 0 0 0,1 0 0 0 0,-1 0 0 0 0,0 0 0 0 0,0 0 0 0 0,0 0 0 0 0,0 0 0 0 0,0 0 0 0 0,0 0 0 0 0,0 0 0 0 0,0 0 0 0 0,0 0 0 0 0,0 0 0 0 0,0 0 0 0 0,0 0 0 0 0,0 0 0 0 0,0 0 0 0 0,0 0 0 0 0,0 0 0 0 0,0-1 1 0 0,0 1-1 0 0,0 0 0 0 0,3-5-75 0 0,0-5-121 0 0,12-93-2230 0 0,-17 114 2757 0 0,0 0 0 0 0,1 1 1 0 0,0-1-1 0 0,1 1 1 0 0,2 21-1 0 0,-2-33-333 0 0,0 0-1 0 0,0 0 1 0 0,0 0 0 0 0,0 0 0 0 0,0 0-1 0 0,0 0 1 0 0,0-1 0 0 0,0 1 0 0 0,0 0-1 0 0,0 0 1 0 0,0 0 0 0 0,0 0-1 0 0,0 0 1 0 0,0 0 0 0 0,0 0 0 0 0,0 0-1 0 0,0 0 1 0 0,0 0 0 0 0,0 0-1 0 0,0 0 1 0 0,0 0 0 0 0,0 0 0 0 0,0 0-1 0 0,0 0 1 0 0,0 0 0 0 0,0 0 0 0 0,0 0-1 0 0,0 0 1 0 0,0 0 0 0 0,0 0-1 0 0,0 0 1 0 0,0 0 0 0 0,0 0 0 0 0,0 0-1 0 0,0 0 1 0 0,0 0 0 0 0,0 0-1 0 0,0 0 1 0 0,0 0 0 0 0,0 0 0 0 0,0 0-1 0 0,0 0 1 0 0,0 0 0 0 0,0 0 0 0 0,0 0-1 0 0,0 0 1 0 0,0 0 0 0 0,0 0-1 0 0,3-9-90 0 0,0-9-460 0 0,-2 7-42 0 0,2-10 36 0 0,-3 32 519 0 0,1-5 372 0 0,-1-13-363 0 0,0 4 6 0 0,0 1-43 0 0,0 1 1 0 0,1 0 0 0 0,-1 0-1 0 0,0-1 1 0 0,-1 1-1 0 0,1 0 1 0 0,0-1 0 0 0,0 1-1 0 0,-1-1 1 0 0,1 1-1 0 0,-1 0 1 0 0,1 0 0 0 0,-2-2-1 0 0,2 4 118 0 0,0 0 0 0 0,-1 1 1 0 0,1-1-1 0 0,0-1 0 0 0,0 1 0 0 0,0 1 0 0 0,0-1 0 0 0,0 0 0 0 0,0 0 0 0 0,0 0 0 0 0,0 0 1 0 0,0 3-1 0 0,2-2-22 0 0,-1 2 0 0 0,-1-2 0 0 0,1 2 1 0 0,-1-2-1 0 0,1 2 0 0 0,-1-2 0 0 0,0 2 1 0 0,0-2-1 0 0,0 2 0 0 0,-1-1 0 0 0,1 0 1 0 0,-2 4-1 0 0,0 13 109 0 0,1 5 83 0 0,-6 34 0 0 0,3-34-10 0 0,0 34 0 0 0,6 15 2 0 0,-1 26 156 0 0,-1-73-318 0 0,0-16-44 0 0,0 0 0 0 0,0 0 0 0 0,-1 1 0 0 0,-1-1 0 0 0,-3 14 0 0 0,-8 12-716 0 0,11-36 711 0 0,1-1 0 0 0,0 0-1 0 0,0 1 1 0 0,0 0 0 0 0,-1-1 0 0 0,1 1 0 0 0,0-1-1 0 0,0 1 1 0 0,-3-1 0 0 0,-3 2 22 0 0,5-1-691 0 0,-3 2 1797 0 0</inkml:trace>
</inkml:ink>
</file>

<file path=ppt/ink/ink3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46.058"/>
    </inkml:context>
    <inkml:brush xml:id="br0">
      <inkml:brushProperty name="width" value="0.00882" units="cm"/>
      <inkml:brushProperty name="height" value="0.00882" units="cm"/>
      <inkml:brushProperty name="color" value="#68C18B"/>
    </inkml:brush>
  </inkml:definitions>
  <inkml:trace contextRef="#ctx0" brushRef="#br0">34 31 1840 0 0,'0'-3'618'0'0,"-2"-11"12870"0"0,2 14-13191 0 0,0-1 0 0 0,0 1 0 0 0,0 0-1 0 0,0 0 1 0 0,0-1 0 0 0,-1 1 0 0 0,1 0 0 0 0,0 0 0 0 0,0-1 0 0 0,0 1-1 0 0,-1 0 1 0 0,1 0 0 0 0,0 0 0 0 0,0-1 0 0 0,-1 1 0 0 0,1 0 0 0 0,0 0 0 0 0,0 0-1 0 0,-1 0 1 0 0,1-1 0 0 0,0 1 0 0 0,0 0 0 0 0,0 0 0 0 0,-1 0 0 0 0,-6 2 404 0 0,5-1-606 0 0,1 0 0 0 0,0 0 0 0 0,0 1 0 0 0,0-2 0 0 0,-1 1 0 0 0,1 1 0 0 0,0-1 0 0 0,0 1 0 0 0,1-1 0 0 0,-1 0 0 0 0,0 1 0 0 0,0 0 0 0 0,0-1 0 0 0,1 0 0 0 0,-1 1 0 0 0,1 0 0 0 0,-1-1 0 0 0,1 3 0 0 0,-1 0 46 0 0,1 0-1 0 0,-1 2 1 0 0,1-2-1 0 0,-1 0 1 0 0,2 7 0 0 0,-1-9-123 0 0,1 0 0 0 0,-1 0 0 0 0,1 0 0 0 0,-1 0 0 0 0,0 0 0 0 0,1-1 0 0 0,0 0 0 0 0,0 1 0 0 0,0 0 0 0 0,0-1 1 0 0,0 1-1 0 0,0-1 0 0 0,0 1 0 0 0,1-1 0 0 0,-1 0 0 0 0,1 0 0 0 0,-2 1 0 0 0,2-1 0 0 0,2 1 0 0 0,-3-1-14 0 0,0-1 0 0 0,0 1 0 0 0,0-1 0 0 0,1 0 0 0 0,-2 0 0 0 0,1 1 0 0 0,0-1 0 0 0,0 0 0 0 0,1 0 0 0 0,-1 0 0 0 0,-1 0 0 0 0,1 0 0 0 0,0-1 0 0 0,0 1 0 0 0,1 0 0 0 0,-1 0 0 0 0,0-1 0 0 0,-1 1-1 0 0,1-1 1 0 0,0 1 0 0 0,0-1 0 0 0,0 1 0 0 0,0 0 0 0 0,0-1 0 0 0,-1 0 0 0 0,1 1 0 0 0,0-1 0 0 0,0 0 0 0 0,-1 0 0 0 0,1 0 0 0 0,0 1 0 0 0,0-1 0 0 0,-1 0 0 0 0,0 0 0 0 0,1-2 0 0 0,2-2 0 0 0,-1 1 1 0 0,-1-1 0 0 0,1 0-1 0 0,0 0 1 0 0,-1 0-1 0 0,1-8 1 0 0,-2 12-4 0 0,1 0 0 0 0,-1-1 0 0 0,0 1 0 0 0,0-1 0 0 0,0 1 0 0 0,0 0 1 0 0,0-1-1 0 0,0 0 0 0 0,0 1 0 0 0,-1 0 0 0 0,1 0 0 0 0,0-1 0 0 0,-1 0 0 0 0,1 1 0 0 0,0 0 0 0 0,-1 0 1 0 0,0-1-1 0 0,1 1 0 0 0,-1 0 0 0 0,0 0 0 0 0,0 0 0 0 0,0 0 0 0 0,0 0 0 0 0,0-1 0 0 0,0 2 1 0 0,0-1-1 0 0,-1 0 0 0 0,1-1 0 0 0,0 2-1 0 0,0 0 0 0 0,0 0 0 0 0,1-1 0 0 0,-1 1 0 0 0,0 0 0 0 0,0 0 0 0 0,1 0 0 0 0,0 0 0 0 0,-1 0 0 0 0,0 0 0 0 0,0 0 0 0 0,1 0 0 0 0,-1 0 0 0 0,0 0 0 0 0,0 1 0 0 0,1-1 0 0 0,0 0 0 0 0,-1 0 0 0 0,1 1 0 0 0,-1-1 0 0 0,0 1 0 0 0,-1 0 0 0 0,1 0 0 0 0,0-1 0 0 0,0 2 0 0 0,0-1 0 0 0,-1 1 0 0 0,1-1 0 0 0,0 0 0 0 0,1 1 0 0 0,-3 2 0 0 0,1 1 0 0 0,1-1 0 0 0,-1 1 0 0 0,1-1 0 0 0,-1 2 0 0 0,1 6 0 0 0,1-10 17 0 0,0 1 0 0 0,0-1 0 0 0,0 1 0 0 0,0 0 0 0 0,0-1-1 0 0,1 0 1 0 0,-1 0 0 0 0,1 1 0 0 0,2 3 0 0 0,-3-6-11 0 0,0 1 0 0 0,1-1 0 0 0,-1 1 0 0 0,0 0 0 0 0,0-1 0 0 0,0 1 1 0 0,1-1-1 0 0,-1 0 0 0 0,1 0 0 0 0,-1 0 0 0 0,1 1 0 0 0,-1-1 0 0 0,1 0 0 0 0,-1 1 0 0 0,1-1 0 0 0,-1 0 0 0 0,1 1 0 0 0,-1-1 0 0 0,1 0 0 0 0,0 0-2 0 0,0 0-1 0 0,0 0 1 0 0,0 0-1 0 0,0 0 1 0 0,-1 0 0 0 0,0-1-1 0 0,1 1 1 0 0,0 0-1 0 0,0 0 1 0 0,0-1 0 0 0,0 1-1 0 0,0-1 1 0 0,-1 1-1 0 0,1 0 1 0 0,-1 0-1 0 0,1-1 1 0 0,0-1 0 0 0,3-1 3 0 0,-2 0 0 0 0,1 0 0 0 0,-2 0 0 0 0,2-1 0 0 0,-1 1 0 0 0,-1 0 0 0 0,1-1 0 0 0,0 1 0 0 0,1-7 0 0 0,-2 7-19 0 0,0 0-1 0 0,0 0 1 0 0,0 0-1 0 0,0 0 1 0 0,-1-1-1 0 0,0 2 1 0 0,1-2-1 0 0,-1 1 1 0 0,-1 0-1 0 0,1 0 1 0 0,0-1-1 0 0,-2-4 1 0 0,1 8 11 0 0,1 0 0 0 0,0 0 0 0 0,0 0 0 0 0,0-1 0 0 0,0 1 0 0 0,-1-1 0 0 0,1 1 1 0 0,0 0-1 0 0,0-1 0 0 0,-1 1 0 0 0,1 0 0 0 0,0-1 0 0 0,0 1 0 0 0,0 0 0 0 0,0 0 1 0 0,0-1-1 0 0,-1 1 0 0 0,1 0 0 0 0,-1 0 0 0 0,1-1 0 0 0,0 1 0 0 0,-1 0 0 0 0,1 0 1 0 0,-1 0-1 0 0,1 0 0 0 0,0 0 0 0 0,-1 0 0 0 0,1 0 0 0 0,-1 0 0 0 0,0 0 0 0 0,1 0-1 0 0,-1 0-1 0 0,-1 0 0 0 0,1 1 0 0 0,0-1 0 0 0,0 1 0 0 0,1-1 1 0 0,-1 1-1 0 0,-1 0 0 0 0,1-1 0 0 0,-1 2 0 0 0,-1 1-6 0 0,-1 1 0 0 0,0-1 0 0 0,-4 6 0 0 0,5-4 17 0 0,1-2-1 0 0,0 2 1 0 0,0-1 0 0 0,-1 0 0 0 0,2 0 0 0 0,-2 5 0 0 0,2-6-4 0 0,0-2 0 0 0,1 2 1 0 0,0-1-1 0 0,-1-1 1 0 0,1 2-1 0 0,0-1 0 0 0,0 0 1 0 0,0 0-1 0 0,0 1 1 0 0,0-2-1 0 0,1 2 1 0 0,-1-1-1 0 0,1-1 0 0 0,0 2 1 0 0,1 2-1 0 0,-2-5-3 0 0,0 0 1 0 0,1 1-1 0 0,-1-1 0 0 0,0 0 0 0 0,0 1 1 0 0,1-1-1 0 0,-1 0 0 0 0,0 0 0 0 0,0 1 1 0 0,0-1-1 0 0,0 0 0 0 0,0 0 0 0 0,1 1 0 0 0,-1-1 1 0 0,0 0-1 0 0,1 0 0 0 0,-1 0 0 0 0,0 0 1 0 0,1 0-1 0 0,-1 0 0 0 0,1 0 0 0 0,-1 0 1 0 0,0 0-1 0 0,1 0 0 0 0,-1 0 0 0 0,0 0 0 0 0,1 0 1 0 0,-1 0-1 0 0,11-6 57 0 0,5-12 19 0 0,-12 14-85 0 0,-1-1 0 0 0,0 0 0 0 0,-1-1-1 0 0,4-6 1 0 0,-5 10 4 0 0,0-1 1 0 0,-1 2-1 0 0,1-1 0 0 0,0-1 0 0 0,-1 1 1 0 0,0 0-1 0 0,1 0 0 0 0,-1 0 0 0 0,0 0 0 0 0,0 0 1 0 0,-1 0-1 0 0,1 0 0 0 0,0-1 0 0 0,-1 2 0 0 0,0-5 1 0 0,1 6 1 0 0,-1 0 1 0 0,1-1-1 0 0,0 1 1 0 0,0 0 0 0 0,0 0-1 0 0,0 0 1 0 0,-1 0 0 0 0,1-1-1 0 0,0 1 1 0 0,0 0-1 0 0,-1-1 1 0 0,1 1 0 0 0,0 0-1 0 0,0 0 1 0 0,0-1 0 0 0,0 1-1 0 0,0 0 1 0 0,-1 0-1 0 0,1 0 1 0 0,0 0 0 0 0,-1-1-1 0 0,1 1 1 0 0,0 0 0 0 0,-1 0-1 0 0,1 0 1 0 0,0 0 0 0 0,-1 0-1 0 0,1 0 1 0 0,-1 0-1 0 0,1 0 1 0 0,0 0 0 0 0,-1 0-1 0 0,0 0 1 0 0,1 1-6 0 0,-1-1 0 0 0,0 1 0 0 0,0-1 0 0 0,0 1 0 0 0,0 0 0 0 0,0-1 0 0 0,1 0 0 0 0,-1 1 0 0 0,1 0 0 0 0,-2 1 0 0 0,-13 20-96 0 0,4 9 308 0 0,10-30-197 0 0,1 0 1 0 0,0 0-1 0 0,-1 0 0 0 0,1 0 0 0 0,0 0 0 0 0,0 0 1 0 0,0 0-1 0 0,0 0 0 0 0,0 1 0 0 0,0-1 0 0 0,0-1 1 0 0,0 1-1 0 0,0 1 0 0 0,0-1 0 0 0,0 0 0 0 0,1 0 1 0 0,-1 0-1 0 0,0 0 0 0 0,1 0 0 0 0,0 0 0 0 0,-1 0 1 0 0,1 0-1 0 0,0 0 0 0 0,-1-1 0 0 0,1 1 0 0 0,1 2 1 0 0,-2-3-4 0 0,1 0 1 0 0,-1 1 0 0 0,1-1 0 0 0,-1 0 0 0 0,1 0 0 0 0,-1 1 0 0 0,1-1-1 0 0,-1 0 1 0 0,0 0 0 0 0,1 0 0 0 0,-1 0 0 0 0,1 0 0 0 0,0 0 0 0 0,-1 0-1 0 0,1 0 1 0 0,-1 0 0 0 0,1 0 0 0 0,-1 0 0 0 0,1-1 0 0 0,0 1 0 0 0,-1 0-1 0 0,0 0 1 0 0,0 0 0 0 0,2-1 0 0 0,-1 0 0 0 0,0 0-1 0 0,1-1 1 0 0,-2 2-1 0 0,1-1 1 0 0,1 0-1 0 0,-1-1 1 0 0,0 1 0 0 0,0-2-1 0 0,2-2-5 0 0,0 0 1 0 0,-1 0-1 0 0,3-9 0 0 0,-5 13-3 0 0,6-25 14 0 0,-5 25-16 0 0,-1-1-1 0 0,0 1 1 0 0,0 0 0 0 0,1 0 0 0 0,-1-1 0 0 0,0 1 0 0 0,-1-1-1 0 0,1 2 1 0 0,0-2 0 0 0,0 1 0 0 0,-1-1 0 0 0,1 1 0 0 0,0 0-1 0 0,0 0 1 0 0,-1 0 0 0 0,1-1 0 0 0,-2 0 0 0 0,1 2 4 0 0,1-1 0 0 0,-1 1-1 0 0,1 0 1 0 0,-1 0 0 0 0,1-1 0 0 0,0 1 0 0 0,-1 0 0 0 0,1 0 0 0 0,-1 0 0 0 0,1-1 0 0 0,-1 1 0 0 0,1 0 0 0 0,-1 0 0 0 0,0 0 0 0 0,1 0 0 0 0,-1 0 0 0 0,1 0 0 0 0,-1 0 0 0 0,1 1-1 0 0,0-1 1 0 0,-1 0 0 0 0,1 0 0 0 0,-1 0 0 0 0,1 1 0 0 0,-1-1 0 0 0,1 0 0 0 0,-1 0 0 0 0,1 1 0 0 0,-1-1 0 0 0,1 0 0 0 0,-1 0 0 0 0,1 0 0 0 0,0 1 0 0 0,0-1 0 0 0,0 1 0 0 0,-1-1 0 0 0,1 1-1 0 0,0-1 1 0 0,-1 1 0 0 0,1 0 0 0 0,-11 19-22 0 0,1 8 23 0 0,9-27 0 0 0,1 0 0 0 0,0 0 0 0 0,-1 0 0 0 0,1 0 0 0 0,0 0 0 0 0,0 1 0 0 0,0-1 0 0 0,0 0 0 0 0,0-1 0 0 0,0 2 0 0 0,0-1 0 0 0,0 0 0 0 0,1 0 0 0 0,-1 0 0 0 0,0 0 0 0 0,1 0 0 0 0,-1 0 0 0 0,1 0 0 0 0,0 0 0 0 0,-1 0 0 0 0,1 0 0 0 0,0 0 0 0 0,-1 0 0 0 0,0 0 0 0 0,2 0 0 0 0,-1 0 0 0 0,-1-1 0 0 0,1 0 0 0 0,-1 0 0 0 0,1 0 0 0 0,0 0 0 0 0,-1 0 0 0 0,1 0 0 0 0,-1 0 0 0 0,0 0 0 0 0,1 0 0 0 0,-1 0 0 0 0,1 0 0 0 0,-1-1 0 0 0,1 1 0 0 0,-1 0 0 0 0,1 0 0 0 0,0-1 0 0 0,-1 1 0 0 0,1 0 0 0 0,-1-1 0 0 0,0 1 0 0 0,0 0 0 0 0,0-1 0 0 0,1 1 0 0 0,-1-1 0 0 0,1 1 0 0 0,-1 0 0 0 0,0-1 0 0 0,1 1 0 0 0,-1 0 0 0 0,0-1 0 0 0,1 0 0 0 0,9-16 0 0 0,-9 15 0 0 0,0-1-1 0 0,9-20-33 0 0,-10 21 32 0 0,1 1 1 0 0,-1 1-1 0 0,0-1 1 0 0,1-1-1 0 0,-1 1 1 0 0,0 0-1 0 0,0 0 1 0 0,0 0-1 0 0,0 0 1 0 0,0 0-1 0 0,0-1 1 0 0,0 1-1 0 0,0 1 0 0 0,-1-1 1 0 0,1-1-1 0 0,0 1 1 0 0,-1 0-1 0 0,0-1 1 0 0,1 1 1 0 0,0 1 0 0 0,0 0 0 0 0,0 0 1 0 0,0-1-1 0 0,-1 1 0 0 0,1 0 0 0 0,0 0 0 0 0,0 0 0 0 0,-1 0 1 0 0,1-1-1 0 0,0 1 0 0 0,0 0 0 0 0,-1 0 0 0 0,1 0 0 0 0,0 0 1 0 0,0 0-1 0 0,-1 0 0 0 0,1 0 0 0 0,0 0 0 0 0,-1 0 0 0 0,1 0 1 0 0,0 0-1 0 0,-1 0 0 0 0,1 0 0 0 0,0 0 0 0 0,0 0 0 0 0,0 0 1 0 0,0 0-1 0 0,0 0 0 0 0,-1 0 0 0 0,1 0 0 0 0,-9 7 14 0 0,-3 11 20 0 0,10-15-30 0 0,1 2-1 0 0,0-2 0 0 0,-1 2 0 0 0,1-1 0 0 0,0 8 1 0 0,0-10 11 0 0,1-1 0 0 0,0 2 0 0 0,0-1 1 0 0,1-1-1 0 0,-1 1 0 0 0,0 0 1 0 0,1 0-1 0 0,-1-1 0 0 0,1 2 1 0 0,0-1-1 0 0,-1-1 0 0 0,1 1 0 0 0,0-1 1 0 0,-1 1-1 0 0,4 2 0 0 0,-4-3-13 0 0,0-1 0 0 0,1 0 0 0 0,-1 1 0 0 0,0-1 0 0 0,1 0-1 0 0,-1 0 1 0 0,0 1 0 0 0,0-1 0 0 0,0 0 0 0 0,0 0 0 0 0,1 0 0 0 0,-1 0-1 0 0,1 0 1 0 0,-1 0 0 0 0,1 0 0 0 0,-1 0 0 0 0,0 0 0 0 0,1 0-1 0 0,-1 0 1 0 0,1 0 0 0 0,-1 0 0 0 0,1 0 0 0 0,-1 0 0 0 0,0 0 0 0 0,0 0-1 0 0,0 0 1 0 0,1 0 0 0 0,-1 0 0 0 0,1 0 0 0 0,10-10 94 0 0,-8 7-63 0 0,0-2-1 0 0,-1 1 1 0 0,4-8 0 0 0,-5 8-38 0 0,0 0-1 0 0,1 1 1 0 0,-2-2-1 0 0,0 1 1 0 0,1 1-1 0 0,-1-2 1 0 0,0-5-1 0 0,0 10 5 0 0,0-1 0 0 0,0 0 0 0 0,0 0 1 0 0,0 1-1 0 0,0-1 0 0 0,0 1 0 0 0,-1-1 0 0 0,1 0 0 0 0,0 0 0 0 0,0 0 0 0 0,0 1 0 0 0,0-1 1 0 0,0 1-1 0 0,-1-1 0 0 0,1 1 0 0 0,-1-1 0 0 0,1 0 0 0 0,-1 1 0 0 0,1-1 0 0 0,-1 0 1 0 0,1 1-1 0 0,-1-1 0 0 0,1 1 0 0 0,-1-1 0 0 0,1 1 0 0 0,-1 0 0 0 0,1 0 0 0 0,-1 0 1 0 0,0-1-1 0 0,0 1 0 0 0,1 0 0 0 0,-1-1 0 0 0,0 1 0 0 0,1 0 0 0 0,-1 0 0 0 0,1 0 0 0 0,-1 0 1 0 0,0 0-1 0 0,0 0 0 0 0,0 0 0 0 0,1 0 0 0 0,-1 0 0 0 0,1 0 0 0 0,-1 0 0 0 0,0 1 1 0 0,0-1-1 0 0,1 0 0 0 0,-1 0 0 0 0,-1 1 0 0 0,1 0 6 0 0,-1 0-1 0 0,-1 1 1 0 0,2 0-1 0 0,-1-1 1 0 0,0 0-1 0 0,0 1 1 0 0,1 0-1 0 0,0 0 1 0 0,-1 0-1 0 0,1 0 1 0 0,0-1-1 0 0,-2 5 1 0 0,1-2 10 0 0,0 0 0 0 0,0 1 0 0 0,-1 0-1 0 0,0 8 1 0 0,3-12-13 0 0,-1-1-1 0 0,1 0 1 0 0,0 0 0 0 0,0 1-1 0 0,0-1 1 0 0,0 1-1 0 0,-1-1 1 0 0,1 1-1 0 0,0-1 1 0 0,0 1-1 0 0,0-1 1 0 0,0 1-1 0 0,0-1 1 0 0,1 1-1 0 0,-1-1 1 0 0,0 0 0 0 0,0 0-1 0 0,0 1 1 0 0,0-1-1 0 0,0 1 1 0 0,1-1-1 0 0,-1 1 1 0 0,0-1-1 0 0,0 1 1 0 0,1-1-1 0 0,-1 1 1 0 0,0-1-1 0 0,1 0 1 0 0,-1 1-1 0 0,0-1 1 0 0,0 0 0 0 0,0 0-1 0 0,1 0 1 0 0,-1 0-1 0 0,1 1 1 0 0,-1-1-1 0 0,1 0 1 0 0,0 0-1 0 0,0 0 0 0 0,0 0 1 0 0,-1 0-1 0 0,0 0 0 0 0,1-1 0 0 0,0 1 1 0 0,0 0-1 0 0,-1 0 0 0 0,1 0 1 0 0,0 0-1 0 0,-1-1 0 0 0,1 1 1 0 0,0 0-1 0 0,-1-1 0 0 0,0 1 0 0 0,1-1 1 0 0,-1 0-1 0 0,1 1 0 0 0,-1-1 1 0 0,1 1-1 0 0,-1-1 0 0 0,1 1 0 0 0,0-2 1 0 0,10-23 73 0 0,-10 24-80 0 0,0-1 0 0 0,-1 1-1 0 0,0 0 1 0 0,0 0-1 0 0,1-1 1 0 0,-1 1-1 0 0,0-1 1 0 0,0 1-1 0 0,0 0 1 0 0,0-1-1 0 0,0 1 1 0 0,0 0-1 0 0,0-1 1 0 0,-1 1-1 0 0,1-1 1 0 0,0 1 0 0 0,-1-3-1 0 0,1 4 7 0 0,0 0 0 0 0,0 0 0 0 0,0 0 0 0 0,0 0 0 0 0,0 0 0 0 0,-1-1 0 0 0,1 1 0 0 0,0 0 0 0 0,0 0 0 0 0,0 0 0 0 0,0 0 0 0 0,0 0 0 0 0,0 0 0 0 0,-1 0 0 0 0,1-1 0 0 0,0 1 0 0 0,0 0 0 0 0,0 0 0 0 0,0 0 0 0 0,-1 0 0 0 0,1 0 0 0 0,0 0 0 0 0,0 0 0 0 0,0 0 0 0 0,-1 0 0 0 0,1 0 0 0 0,0 0 0 0 0,0 0 0 0 0,0 0 0 0 0,0 0 0 0 0,-1 0 0 0 0,1 0 0 0 0,0 0 0 0 0,0 0 0 0 0,0 0 0 0 0,0 0 0 0 0,0 1 0 0 0,-6 5 31 0 0,0 9-22 0 0,6-11 42 0 0,-2 1 0 0 0,1 1 0 0 0,0 7 0 0 0,0-12-167 0 0,1 0 0 0 0,0 0 0 0 0,0 0 0 0 0,0 1 0 0 0,0-2 0 0 0,0 1 0 0 0,0 0 0 0 0,0 0 0 0 0,1 1 0 0 0,-1-1 0 0 0,0-1 0 0 0,0 1 0 0 0,1 0 0 0 0,-1 0 0 0 0,1 0 0 0 0,0 0 0 0 0,-1 0 0 0 0,1-1 0 0 0,-1 1 0 0 0,0 0 0 0 0,1 0 0 0 0,0 0 0 0 0,0 0 0 0 0,1 1 0 0 0,3-1-9212 0 0</inkml:trace>
</inkml:ink>
</file>

<file path=ppt/ink/ink3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45.389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6 39 3009 0 0,'1'-9'675'0'0,"-1"-9"2561"0"0,-2 7 2479 0 0,0 15 94 0 0,-4 16-3997 0 0,2 10-420 0 0,2 0 0 0 0,1 0 0 0 0,4 37 0 0 0,-2-63-1224 0 0,0-4-74 0 0,1-10-55 0 0,1-14 2 0 0,-1 1-144 0 0,2-36-3203 0 0,-5 125-678 0 0,2-59-2826 0 0</inkml:trace>
</inkml:ink>
</file>

<file path=ppt/ink/ink3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46.835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3 3 3985 0 0,'-1'-1'352'0'0,"0"1"-280"0"0,1-1-72 0 0,0 1 0 0 0</inkml:trace>
</inkml:ink>
</file>

<file path=ppt/ink/ink3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50.435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 0 888 0 0,'5'4'24976'0'0,"1"-1"-22754"0"0,17 6-6032 0 0,-15-6 5969 0 0,56 17-1788 0 0,-31-11-107 0 0,106 25 232 0 0,-137-34-496 0 0,28 9 47 0 0,34 13 0 0 0,-10-3-5 0 0,40 10 35 0 0,110 38 174 0 0,-71-28-39 0 0,-7-3-16 0 0,-58-16-171 0 0,-40-13-5 0 0,34 14-1 0 0,115 44 173 0 0,49 12 128 0 0,-176-60-332 0 0,73 23-40 0 0,-31-9 83 0 0,-11-4-62 0 0,38 11 33 0 0,39 11-4 0 0,-95-29 2 0 0,31 7 0 0 0,36 14-46 0 0,-60-18 28 0 0,193 61-198 0 0,-71-31 80 0 0,-4-2 29 0 0,-37-5 108 0 0,16 5 17 0 0,48 4-18 0 0,-128-31 0 0 0,31 8 0 0 0,317 90-72 0 0,-372-108 72 0 0,59 18 0 0 0,-32-9 0 0 0,0 0 0 0 0,157 55 0 0 0,-50-13 64 0 0,-118-41-7 0 0,14 5 14 0 0,16 12-7 0 0,126 30 0 0 0,-158-48-12 0 0,17 4 99 0 0,-38-12-30 0 0,84 34 1 0 0,-132-44-97 0 0,-10-1-127 0 0,-15 0-346 0 0,9-4-1 0 0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6193 0 0,'0'0'472'0'0,"4"1"5647"0"0,8 0-2913 0 0,15 5 93 0 0,39 14 0 0 0,-20-6-1146 0 0,-28-8-3291 0 0,37 17 0 0 0</inkml:trace>
</inkml:ink>
</file>

<file path=ppt/ink/ink3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52.969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21 81 1840 0 0,'-15'5'7375'0'0,"9"-4"-1020"0"0,12-2 2348 0 0,10-7-6934 0 0,13-8-1424 0 0,-1-1 1 0 0,27-22 0 0 0,-53 37-971 0 0,3-2 468 0 0</inkml:trace>
</inkml:ink>
</file>

<file path=ppt/ink/ink3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58.013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 3 2881 0 0,'3'-2'16623'0'0,"24"4"-12060"0"0,18 11-2864 0 0,-13-3-1155 0 0,77 23 305 0 0,-28-7-346 0 0,-48-17-473 0 0,-11-2 38 0 0,0 0 0 0 0,43 4 1 0 0,80 15 87 0 0,-97-15-131 0 0,0 1-41 0 0,69 28 0 0 0,-10-2 13 0 0,-31-11-12 0 0,12 3-23 0 0,149 42 102 0 0,-91-22-64 0 0,-61-18 0 0 0,119 31-80 0 0,-33-15-64 0 0,-121-35 145 0 0,49 20 0 0 0,15 4-14 0 0,96 28-40 0 0,-22-7 53 0 0,-74-15 0 0 0,4 0 0 0 0,105 26 0 0 0,-146-46 0 0 0,107 36 0 0 0,-34-12 0 0 0,-40-15 0 0 0,44 14 0 0 0,-65-22 0 0 0,11 5 0 0 0,305 85 117 0 0,-378-107-101 0 0,191 46 131 0 0,-128-31-147 0 0,137 39 0 0 0,-40-8 50 0 0,-76-23-28 0 0,82 24-22 0 0,-157-42 6 0 0,114 38 52 0 0,70 17 4 0 0,-192-59-60 0 0,94 21 168 0 0,-31-8-60 0 0,-48-12-52 0 0,-21-5 9 0 0,29 10 0 0 0,-46-12-48 0 0,-3-2-3 0 0,0 1 0 0 0,0 0-1 0 0,0-1 1 0 0,0 1 0 0 0,0 0-1 0 0,0 0 1 0 0,-1 0 0 0 0,4 2-1 0 0,-16-3-2721 0 0</inkml:trace>
</inkml:ink>
</file>

<file path=ppt/ink/ink3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59.136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0 9 7258 0 0,'2'-8'9949'0'0,"3"11"-4106"0"0,3 13-2962 0 0,7 53-977 0 0,-6-25-1847 0 0,22 64 1 0 0,-30-106-709 0 0,-1-3 150 0 0</inkml:trace>
</inkml:ink>
</file>

<file path=ppt/ink/ink3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2.013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41 1346 888 0 0,'-22'7'3700'0'0,"4"7"9604"0"0,73-66-8117 0 0,82-60-3613 0 0,-58 59-509 0 0,-6 4-705 0 0,120-88-145 0 0,-48 37-94 0 0,-79 51-11 0 0,74-51 256 0 0,-51 34-97 0 0,28-18 106 0 0,7 2-288 0 0,23-16 26 0 0,46-33-18 0 0,-99 64-62 0 0,-21 20-36 0 0,19-14 17 0 0,-75 48 7 0 0,0 2 0 0 0,1 0 1 0 0,0 1-1 0 0,1 0 0 0 0,28-9 1 0 0,-37 15 117 0 0</inkml:trace>
</inkml:ink>
</file>

<file path=ppt/ink/ink3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4.703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25 1482 2361 0 0,'-10'6'1917'0'0,"-5"7"12617"0"0,20-16-10604 0 0,6-7-2745 0 0,-5 5-499 0 0,35-24 11 0 0,56-31 0 0 0,-57 37-276 0 0,71-53-1 0 0,36-38-281 0 0,-44 36-72 0 0,176-128 541 0 0,-209 154-481 0 0,73-48 255 0 0,-37 31-215 0 0,13-7-43 0 0,132-75-145 0 0,-83 49 263 0 0,-46 23 148 0 0,-98 63-361 0 0,66-56-46 0 0,-40 30 10 0 0,-43 38 7 0 0,-6 4 0 0 0,0-1 0 0 0,0 1 0 0 0,0-1 0 0 0,0 1 0 0 0,0-1 0 0 0,0 1 0 0 0,0-1 0 0 0,-1 1 0 0 0,1-1 0 0 0,0 0 0 0 0,0 1 0 0 0,-1-1 0 0 0,2-1 0 0 0,-3-6-4176 0 0,1 0-1987 0 0,1-5-3730 0 0,-2 2 3968 0 0,-1-1 4669 0 0,-1 0 5368 0 0,-1 1 1131 0 0,-5-13 4371 0 0,8 21-8966 0 0,0 1 0 0 0,0-1 0 0 0,0 0 0 0 0,0 1-1 0 0,1-1 1 0 0,-1-5 0 0 0,0 6 347 0 0,1 5-332 0 0,-1 10-540 0 0,-17 117 1961 0 0,19-126-1855 0 0,1-6-152 0 0,5-13-256 0 0,7-24-648 0 0,-9 21 356 0 0,-1 8-31 0 0,-1 0-1 0 0,-1-1 0 0 0,0 1 0 0 0,1-13 0 0 0,-11 30 479 0 0,0 6 681 0 0,1 0-167 0 0,1 0 1 0 0,0 0 0 0 0,1 1 0 0 0,0-1-1 0 0,-2 16 1 0 0,7-29-493 0 0,0 0 0 0 0,0 0 0 0 0,0 0 0 0 0,0 0 0 0 0,0 0 0 0 0,0 1-1 0 0,0-1 1 0 0,0 0 0 0 0,0 0 0 0 0,0 0 0 0 0,0 0 0 0 0,0 0 0 0 0,0 0 0 0 0,0 0 0 0 0,0 0-1 0 0,0 0 1 0 0,0 0 0 0 0,0 0 0 0 0,0 0 0 0 0,0 0 0 0 0,0 0 0 0 0,0 0 0 0 0,0 0 0 0 0,0 0-1 0 0,0 1 1 0 0,0-1 0 0 0,0 0 0 0 0,0 0 0 0 0,0 0 0 0 0,0 0 0 0 0,0 0 0 0 0,0 0 0 0 0,0 0-1 0 0,0 0 1 0 0,0 0 0 0 0,0 0 0 0 0,0 0 0 0 0,0 0 0 0 0,1 0 0 0 0,-1 0 0 0 0,0 0 0 0 0,0 0-1 0 0,0 0 1 0 0,0 0 0 0 0,0 0 0 0 0,0 0 0 0 0,0 0 0 0 0,0 0 0 0 0,0 0 0 0 0,0 0 0 0 0,0 0-1 0 0,0 0 1 0 0,0 0 0 0 0,0 0 0 0 0,0 0 0 0 0,0 0 0 0 0,1 0 0 0 0,-1 0 0 0 0,0 0 0 0 0,0 0-1 0 0,0 0 1 0 0,0 0 0 0 0,0 0 0 0 0,0 0 0 0 0,0 0 0 0 0,0 0 0 0 0,6-5-325 0 0,4-4-300 0 0,5-14-3179 0 0,-13 18 1522 0 0</inkml:trace>
</inkml:ink>
</file>

<file path=ppt/ink/ink3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4.973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30 33 432 0 0,'-13'-6'3764'0'0,"12"5"-3578"0"0,0 1 1 0 0,1 0-1 0 0,-1 0 0 0 0,0 0 0 0 0,0-1 1 0 0,1 1-1 0 0,-1 0 0 0 0,0-1 1 0 0,0 1-1 0 0,1-1 0 0 0,-1 1 1 0 0,0-1-1 0 0,1 1 0 0 0,-1-1 0 0 0,1 1 1 0 0,-1-1-1 0 0,1 1 0 0 0,-1-1 1 0 0,1 0-1 0 0,-1 1 0 0 0,1-1 0 0 0,-1 0 1 0 0,1 0-1 0 0,0 1 0 0 0,-1-1 1 0 0,1-1-1 0 0,0-5 2492 0 0,-1 2-3367 0 0</inkml:trace>
</inkml:ink>
</file>

<file path=ppt/ink/ink3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5.409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41 4 3841 0 0,'0'0'150'0'0,"0"0"0"0"0,0 0 0 0 0,0-1 0 0 0,0 1 1 0 0,0 0-1 0 0,0 0 0 0 0,0 0 0 0 0,0 0 0 0 0,0 0 0 0 0,0-1 1 0 0,0 1-1 0 0,0 0 0 0 0,-1 0 0 0 0,1 0 0 0 0,0 0 0 0 0,0 0 1 0 0,0 0-1 0 0,0 0 0 0 0,0-1 0 0 0,0 1 0 0 0,0 0 0 0 0,0 0 0 0 0,-1 0 1 0 0,1 0-1 0 0,0 0 0 0 0,0 0 0 0 0,0 0 0 0 0,0 0 0 0 0,0 0 1 0 0,-1 0-1 0 0,1 0 0 0 0,0 0 0 0 0,0 0 0 0 0,0 0 0 0 0,0 0 1 0 0,0 0-1 0 0,-1 0 0 0 0,1 0 0 0 0,0 0 0 0 0,0 0 0 0 0,0 0 1 0 0,0 0-1 0 0,0 0 0 0 0,-1 0 0 0 0,1 0 0 0 0,-4 8 4739 0 0,-1 10 34 0 0,2 24 244 0 0,2-22-3940 0 0,4 23 1 0 0,-4-41-980 0 0,-1-8-328 0 0,-1-10-245 0 0,3-1-611 0 0,-1 1 0 0 0,-1-1 0 0 0,-7-26 0 0 0,9 42 940 0 0,0 1 0 0 0,0 0-1 0 0,0 0 1 0 0,0 0 0 0 0,0 0-1 0 0,1 0 1 0 0,-1 0 0 0 0,0 0 0 0 0,0 0-1 0 0,0 0 1 0 0,0 0 0 0 0,0 0-1 0 0,0 0 1 0 0,0 0 0 0 0,0 0 0 0 0,0 0-1 0 0,0-1 1 0 0,0 1 0 0 0,-1 0-1 0 0,1 0 1 0 0,0 0 0 0 0,0 0-1 0 0,0 0 1 0 0,0 0 0 0 0,0 0 0 0 0,0 0-1 0 0,0 0 1 0 0,0 0 0 0 0,0 0-1 0 0,0 0 1 0 0,0 0 0 0 0,0 0 0 0 0,0 0-1 0 0,0 0 1 0 0,0 0 0 0 0,0 0-1 0 0,0-1 1 0 0,0 1 0 0 0,0 0 0 0 0,0 0-1 0 0,0 0 1 0 0,-1 0 0 0 0,1 0-1 0 0,0 0 1 0 0,0 0 0 0 0,0 0 0 0 0,0 0-1 0 0,0 0 1 0 0,0 0 0 0 0,0 0-1 0 0,0 0 1 0 0,0 0 0 0 0,0 0-1 0 0,0 0 1 0 0,0 0 0 0 0,0 0 0 0 0,0 0-1 0 0,0 0 1 0 0,-1 0 0 0 0,1 1-1 0 0,0-1 1 0 0,0 0 0 0 0,0 0 0 0 0,0 0-1 0 0,0 0 1 0 0,0 0 0 0 0,0 0-1 0 0,0 0 1 0 0,-2 7 708 0 0,-1 8 305 0 0,3-11-1049 0 0,0 1 369 0 0,0 0 1 0 0,0 1 0 0 0,0-1 0 0 0,2 9 0 0 0,-2-13-411 0 0,0 0 0 0 0,1 0 1 0 0,-1 0-1 0 0,0 0 1 0 0,1 0-1 0 0,-1 0 1 0 0,1 0-1 0 0,-1-1 0 0 0,1 1 1 0 0,-1 0-1 0 0,1 0 1 0 0,-1 0-1 0 0,1-1 1 0 0,0 1-1 0 0,0 0 0 0 0,-1-1 1 0 0,1 1-1 0 0,0-1 1 0 0,0 1-1 0 0,0-1 1 0 0,-1 1-1 0 0,1-1 0 0 0,0 1 1 0 0,0-1-1 0 0,0 0 1 0 0,0 1-1 0 0,0-1 0 0 0,0 0 1 0 0,0 0-1 0 0,0 0 1 0 0,1 0-1 0 0</inkml:trace>
</inkml:ink>
</file>

<file path=ppt/ink/ink3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6.942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42 0 4593 0 0,'-20'1'5036'0'0,"-2"0"4838"0"0,34 1-2613 0 0,41 3-7255 0 0,-41-5 38 0 0,-1 0 0 0 0,1 1 0 0 0,-1 0 0 0 0,1 1 0 0 0,-1 0 0 0 0,0 1 0 0 0,0 0 0 0 0,16 7 0 0 0,-27-10-66 0 0,0 0 1 0 0,0 0-1 0 0,1 0 0 0 0,-1 0 1 0 0,0 0-1 0 0,0 0 1 0 0,1 0-1 0 0,-1 0 1 0 0,0-1-1 0 0,0 1 0 0 0,0 0 1 0 0,1 0-1 0 0,-1 0 1 0 0,0 0-1 0 0,0 0 0 0 0,1 0 1 0 0,-1-1-1 0 0,0 1 1 0 0,0 0-1 0 0,0 0 0 0 0,0 0 1 0 0,1 0-1 0 0,-1-1 1 0 0,0 1-1 0 0,0 0 1 0 0,0 0-1 0 0,0-1 0 0 0,0 1 1 0 0,1 0-1 0 0,-1 0 1 0 0,0 0-1 0 0,0-1 0 0 0,0 1 1 0 0,0 0-1 0 0,0 0 1 0 0,0-1-1 0 0,0 1 0 0 0,0 0 1 0 0,0-1-1 0 0,0 1 1 0 0,0 0-1 0 0,0 0 1 0 0,0-1-1 0 0,0 1 0 0 0,0 0 1 0 0,-1 0-1 0 0,1 0 1 0 0,0-1-1 0 0,0 1 0 0 0,0 0 1 0 0,0 0-1 0 0,0-1 1 0 0,0 1-1 0 0,-1 0 1 0 0,1 0-1 0 0,0 0 0 0 0,0 0 1 0 0,-1-1-1 0 0,1 1 43 0 0,0 0 0 0 0,0 0 0 0 0,0 0 0 0 0,-1 0 0 0 0,1 0 0 0 0,0 0 0 0 0,0 0 0 0 0,0 0 0 0 0,0 0 0 0 0,0 0 0 0 0,-1 0 0 0 0,1 0-1 0 0,0 0 1 0 0,0 0 0 0 0,0 0 0 0 0,0 0 0 0 0,0 0 0 0 0,0 0 0 0 0,-1 1 0 0 0,1-1 0 0 0,0 0 0 0 0,0 0 0 0 0,0 0 0 0 0,0 0 0 0 0,0 0 0 0 0,0 0 0 0 0,0 0 0 0 0,0 1 0 0 0,-1-1-1 0 0,1 0 1 0 0,0 0 0 0 0,0 0 0 0 0,0 0 0 0 0,0 0 0 0 0,0 0 0 0 0,0 1 0 0 0,0-1 0 0 0,0 0 0 0 0,0 0 0 0 0,0 0 0 0 0,0 0 0 0 0,0 1 0 0 0,0 10 256 0 0,3 12-142 0 0,-2-22-78 0 0,4 27 106 0 0,0-6 151 0 0,4 38 1 0 0,-9-52-218 0 0,0 1-1 0 0,0-1 1 0 0,-1 0 0 0 0,0 0 0 0 0,0 0 0 0 0,-1 1 0 0 0,0-1 0 0 0,-4 9 0 0 0,7-18 96 0 0,15-39-4153 0 0,-12 28 526 0 0,0 0 1 0 0,3-21 0 0 0,-4 14 807 0 0,2-22-1633 0 0,-5 38 4819 0 0,0 0 1 0 0,-1 0 0 0 0,1 1-1 0 0,0-1 1 0 0,-1 0 0 0 0,-3-3 7592 0 0,1 13-5273 0 0,-1 7-1377 0 0,-1 33 1235 0 0,1 60 0 0 0,6-112-5504 0 0</inkml:trace>
</inkml:ink>
</file>

<file path=ppt/ink/ink3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26.327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31 1249 3369 0 0,'-2'-11'3602'0'0,"-3"22"2918"0"0,0 1-5101 0 0,-9 15 1669 0 0,10-17-1950 0 0,7-15-218 0 0,42-73-9578 0 0,-66 128 15864 0 0,16-36-6490 0 0,1-1-1 0 0,1 1 0 0 0,0-1 0 0 0,-2 17 1 0 0,6-27-389 0 0,1-3-209 0 0,4-10-328 0 0,6-16-744 0 0,-2-2-257 0 0,15-37-4124 0 0,-6 24 5696 0 0,-21 46 1139 0 0,0 1 1 0 0,1-1 0 0 0,-2 12 0 0 0,-1 4-368 0 0,-7 20-16 0 0,5-24-822 0 0,1 0 1 0 0,1 0 0 0 0,1 1-1 0 0,-2 24 1 0 0,5-42-297 0 0,0 0 1 0 0,0 0-1 0 0,0 0 0 0 0,0 0 1 0 0,0 0-1 0 0,0 0 0 0 0,0 0 1 0 0,0 0-1 0 0,0 0 0 0 0,0 0 1 0 0,1 0-1 0 0,-1 0 0 0 0,0 0 1 0 0,0 0-1 0 0,0 0 0 0 0,0 0 1 0 0,0 0-1 0 0,0 0 0 0 0,0 0 1 0 0,0 0-1 0 0,0 0 0 0 0,0 0 1 0 0,0 0-1 0 0,0 0 0 0 0,0 0 1 0 0,0 0-1 0 0,0 0 0 0 0,0 0 1 0 0,0 0-1 0 0,0 0 0 0 0,0 0 1 0 0,0 0-1 0 0,0 0 0 0 0,0 0 1 0 0,0 0-1 0 0,0 0 0 0 0,1 0 1 0 0,-1 0-1 0 0,0 0 0 0 0,0 0 1 0 0,0 0-1 0 0,0 0 0 0 0,0 0 1 0 0,0 0-1 0 0,0 1 0 0 0,0-1 1 0 0,0 0-1 0 0,0 0 0 0 0,0 0 1 0 0,0 0-1 0 0,4-8-161 0 0,3-9-462 0 0,11-54-3210 0 0,-10 38 332 0 0,23-62 0 0 0,-29 92 6142 0 0,-1 4-578 0 0,-1 11 667 0 0,-2 17-449 0 0,-9 30-392 0 0,4-25-1716 0 0,-3 53 0 0 0,16-97-527 0 0,2-10 4 0 0,10-48-1336 0 0,-11 40 651 0 0,0 1-1 0 0,2 1 0 0 0,1 0 1 0 0,13-26-1 0 0,-21 49 2673 0 0,-1 4-301 0 0,-2 9 576 0 0,-5 24-137 0 0,3-18-1271 0 0,-9 40-76 0 0,7-35-225 0 0,0 1 0 0 0,-2 34 1 0 0,7-52-222 0 0,2-4-31 0 0,2-8-112 0 0,5-14-174 0 0,52-177-5904 0 0,-59 193 6277 0 0,-1 2 72 0 0,0 1 0 0 0,0 0 1 0 0,0 0-1 0 0,0 0 1 0 0,1 0-1 0 0,-1 0 0 0 0,1 0 1 0 0,2-4-1 0 0,-4 31 2852 0 0,-4 14-2524 0 0,-2 6 821 0 0,0 63 0 0 0,6-107-1261 0 0,0 1 0 0 0,0-1 0 0 0,0 0 0 0 0,0 0 0 0 0,0 0 0 0 0,-1 1 0 0 0,1-1 0 0 0,0 0 0 0 0,0 0 0 0 0,0 0 0 0 0,0 1 0 0 0,0-1 0 0 0,0 0 0 0 0,0 0 0 0 0,0 0 0 0 0,0 1 0 0 0,0-1 0 0 0,0 0 0 0 0,0 0 0 0 0,0 0-1 0 0,1 1 1 0 0,-1-1 0 0 0,0 0 0 0 0,0 0 0 0 0,0 0 0 0 0,0 1 0 0 0,0-1 0 0 0,0 0 0 0 0,0 0 0 0 0,1 0 0 0 0,-1 0 0 0 0,0 1 0 0 0,0-1 0 0 0,0 0 0 0 0,0 0 0 0 0,0 0 0 0 0,1 0 0 0 0,-1 0 0 0 0,0 0 0 0 0,0 0 0 0 0,5-9-283 0 0,5-20-276 0 0,-9 27 533 0 0,19-78-3032 0 0,-11 42 495 0 0,22-60 0 0 0,-29 95 4109 0 0,-1 4-284 0 0,-1 13 574 0 0,-4 19 292 0 0,0-5-900 0 0,0-3-819 0 0,0 1-1 0 0,1 32 1 0 0,3-58-404 0 0,0 0 1 0 0,0 1-1 0 0,0-1 1 0 0,0 0-1 0 0,0 0 1 0 0,0 0-1 0 0,0 0 1 0 0,0 1 0 0 0,0-1-1 0 0,0 0 1 0 0,0 0-1 0 0,0 0 1 0 0,0 0-1 0 0,0 1 1 0 0,0-1 0 0 0,0 0-1 0 0,0 0 1 0 0,0 0-1 0 0,0 0 1 0 0,0 1-1 0 0,0-1 1 0 0,0 0-1 0 0,0 0 1 0 0,0 0 0 0 0,0 0-1 0 0,0 0 1 0 0,0 1-1 0 0,0-1 1 0 0,1 0-1 0 0,-1 0 1 0 0,0 0-1 0 0,0 0 1 0 0,0 0 0 0 0,0 0-1 0 0,0 1 1 0 0,0-1-1 0 0,1 0 1 0 0,-1 0-1 0 0,0 0 1 0 0,0 0-1 0 0,0 0 1 0 0,0 0 0 0 0,1 0-1 0 0,-1 0 1 0 0,6-7-26 0 0,4-13-223 0 0,34-128-3737 0 0,-24 76 26 0 0,-19 68 3824 0 0,0 1 118 0 0,-1 1 0 0 0,1-1 0 0 0,0 1 0 0 0,0-1 0 0 0,0 1 0 0 0,0-1 0 0 0,0 1 0 0 0,1 0 0 0 0,1-3 0 0 0,-2 7 433 0 0,-1 0 0 0 0,0 0-1 0 0,0-1 1 0 0,0 1 0 0 0,0 0-1 0 0,0 0 1 0 0,0 0 0 0 0,-1 3 0 0 0,-6 35 293 0 0,1-7 529 0 0,1 0 1 0 0,0 52 0 0 0,6-80-1241 0 0,1-5 1 0 0,3-10-3 0 0,6-19-55 0 0,-10 28 48 0 0,22-73-1332 0 0,18-49-2585 0 0,-36 115 4560 0 0,-5 17 355 0 0,-4 19 762 0 0,3-27-1656 0 0,-8 49 1540 0 0,-13 77-485 0 0,22-127-1149 0 0,0 0 0 0 0,0 0 1 0 0,-1 1-1 0 0,1-1 0 0 0,0 0 1 0 0,0 1-1 0 0,0-1 0 0 0,0 0 1 0 0,0 1-1 0 0,0-1 0 0 0,0 0 1 0 0,0 1-1 0 0,0-1 0 0 0,0 0 1 0 0,0 1-1 0 0,0-1 0 0 0,0 0 1 0 0,0 1-1 0 0,0-1 0 0 0,0 0 1 0 0,0 1-1 0 0,0-1 0 0 0,1 0 1 0 0,-1 0-1 0 0,0 1 0 0 0,0-1 1 0 0,0 0-1 0 0,0 0 0 0 0,1 1 1 0 0,-1-1-1 0 0,1 1 0 0 0,6-10 47 0 0,6-17 6 0 0,9-28-1893 0 0,-3-2 1 0 0,18-92-1 0 0,-36 144 1827 0 0,4-10-263 0 0,-4 14 779 0 0,-2 8 403 0 0,-7 51 1885 0 0,1-17-2024 0 0,-2 83 0 0 0,9-125-768 0 0,-1 0 0 0 0,1 1 0 0 0,0-1 0 0 0,0 1 0 0 0,0-1 0 0 0,0 1 0 0 0,0-1 0 0 0,0 0 0 0 0,0 1 0 0 0,0-1 0 0 0,0 1 0 0 0,0-1 0 0 0,0 0 0 0 0,0 1 0 0 0,0-1 0 0 0,1 1 0 0 0,-1-1 0 0 0,0 0 0 0 0,0 1 0 0 0,0-1 0 0 0,1 0 0 0 0,-1 1 0 0 0,0-1 0 0 0,0 0 0 0 0,1 1 0 0 0,-1-1 0 0 0,0 0 0 0 0,1 1 0 0 0,-1-1 0 0 0,1 0 0 0 0,-1 0 0 0 0,1 0 0 0 0,0-1 0 0 0,-1 1 0 0 0,1-1 0 0 0,0 1 0 0 0,-1-1 0 0 0,1 1 0 0 0,-1-1 0 0 0,1 1 0 0 0,-1-1 0 0 0,1 0 0 0 0,-1 1 0 0 0,1-2 0 0 0,13-27 0 0 0,46-144-2844 0 0,-34 90-49 0 0,-26 82 2860 0 0,1 0 0 0 0,-1 0 1 0 0,0 0-1 0 0,1 0 1 0 0,-1 0-1 0 0,1 0 1 0 0,0-1-1 0 0,-1 1 1 0 0,1 1-1 0 0,0-1 1 0 0,0-1-1 0 0,1 4 262 0 0,-2 8 347 0 0,-8 37 299 0 0,-12 95 3277 0 0,20-136-4139 0 0,2-5 21 0 0,6-11 63 0 0,7-17-11 0 0,29-103-3031 0 0,-12 33-2231 0 0,-24 83 4682 0 0,-6 15 1319 0 0,-3 9 583 0 0,-8 38 2309 0 0,0-9-2412 0 0,-5 76-1 0 0,14-115-1300 0 0,0 1 0 0 0,-1-1-1 0 0,1 0 1 0 0,0 0 0 0 0,0 0-1 0 0,0 0 1 0 0,0 1 0 0 0,0-1-1 0 0,0 0 1 0 0,0 0 0 0 0,0 0-1 0 0,0 1 1 0 0,0-1 0 0 0,0 0-1 0 0,0 0 1 0 0,0 0 0 0 0,0 1-1 0 0,0-1 1 0 0,0 0 0 0 0,0 0-1 0 0,0 0 1 0 0,0 0 0 0 0,0 1-1 0 0,0-1 1 0 0,0 0 0 0 0,1 0-1 0 0,-1 0 1 0 0,0 1 0 0 0,0-1-1 0 0,0 0 1 0 0,0 0-1 0 0,0 0 1 0 0,0 0 0 0 0,1 0-1 0 0,-1 0 1 0 0,0 1 0 0 0,0-1-1 0 0,0 0 1 0 0,0 0 0 0 0,1 0-1 0 0,-1 0 1 0 0,0 0 0 0 0,0 0-1 0 0,0 0 1 0 0,0 0 0 0 0,1 0-1 0 0,-1 0 1 0 0,9-8 76 0 0,6-17-54 0 0,37-87-1810 0 0,-8-4-4322 0 0,-42 110 5584 0 0,-1 3 377 0 0,-1 1-1 0 0,1 0 1 0 0,0 0-1 0 0,-1 0 1 0 0,1-1-1 0 0,0 1 1 0 0,0 0-1 0 0,0 0 0 0 0,1 1 1 0 0,-1-1-1 0 0,0 0 1 0 0,3-2-1 0 0,-4 4 184 0 0,0 0 0 0 0,0 1 0 0 0,1-1 0 0 0,-1 0 0 0 0,0 0 1 0 0,0 0-1 0 0,0 1 0 0 0,0-1 0 0 0,1 0 0 0 0,-1 0 0 0 0,0 1 0 0 0,0-1 0 0 0,0 0 0 0 0,0 0 0 0 0,0 1 0 0 0,0-1 0 0 0,0 0 0 0 0,0 1 0 0 0,0-1 0 0 0,0 0 0 0 0,0 0 0 0 0,0 1 0 0 0,0-1 0 0 0,0 0 0 0 0,0 1 0 0 0,0-1 1 0 0,0 0-1 0 0,0 0 0 0 0,0 1 0 0 0,-2 10 1123 0 0,-12 63 4851 0 0,-9 52-4183 0 0,23-118-1820 0 0,2-7-9 0 0,5-10-25 0 0,6-17-111 0 0,19-60-1132 0 0,-22 57-625 0 0,0 1 0 0 0,2 0-1 0 0,18-30 1 0 0,-21 49-377 0 0,-8 16 2691 0 0,-7 20 2558 0 0,5-25-2871 0 0,-9 34 2865 0 0,2-9-928 0 0,-6 38 1 0 0,15-60-1738 0 0,1-4-124 0 0,7-11-81 0 0,8-17-193 0 0,20-47-2516 0 0,5-10-4028 0 0,-42 83 6615 0 0,1 0 0 0 0,-1 1 0 0 0,0-1 0 0 0,1 0 0 0 0,-1 1 0 0 0,1-1 0 0 0,-1 0 0 0 0,1 1 0 0 0,-1-1 0 0 0,1 1 0 0 0,0-1 0 0 0,-1 1 0 0 0,1-1 0 0 0,-1 1 0 0 0,3-2 0 0 0,-3 3 76 0 0,0-1 1 0 0,0 0-1 0 0,0 0 0 0 0,1 0 0 0 0,-1 1 1 0 0,0-1-1 0 0,0 0 0 0 0,0 1 0 0 0,1-1 1 0 0,-1 0-1 0 0,0 0 0 0 0,0 1 0 0 0,0-1 0 0 0,0 0 1 0 0,0 1-1 0 0,0-1 0 0 0,0 0 0 0 0,0 0 1 0 0,0 1-1 0 0,0-1 0 0 0,0 0 0 0 0,0 1 1 0 0,0-1-1 0 0,0 0 0 0 0,0 1 0 0 0,-4 28 2753 0 0,-11 39-752 0 0,-4 21 492 0 0,18-88-2549 0 0,1 0 0 0 0,0-1 0 0 0,0 1 1 0 0,0 0-1 0 0,-1-1 0 0 0,1 1 0 0 0,0 0 1 0 0,0-1-1 0 0,0 1 0 0 0,0 0 0 0 0,0-1 1 0 0,1 1-1 0 0,-1 0 0 0 0,0-1 0 0 0,0 1 1 0 0,0-1-1 0 0,1 2 0 0 0,5-8 45 0 0,8-21-14 0 0,-13 26-42 0 0,29-66-1217 0 0,8-35-5315 0 0,-10 27 787 0 0,-23 66 5865 0 0,-5 14 2005 0 0,-3 15 1369 0 0,-8 18 862 0 0,-25 98-1119 0 0,36-136-3226 0 0,0 0 1 0 0,0 1 0 0 0,0-1 0 0 0,0 0 0 0 0,0 0 0 0 0,-1 0 0 0 0,1 1 0 0 0,0-1 0 0 0,0 0-1 0 0,0 1 1 0 0,0-1 0 0 0,0 0 0 0 0,0 0 0 0 0,0 1 0 0 0,0-1 0 0 0,0 0 0 0 0,0 0 0 0 0,0 1-1 0 0,0-1 1 0 0,0 0 0 0 0,0 0 0 0 0,0 1 0 0 0,0-1 0 0 0,1 0 0 0 0,-1 0 0 0 0,0 1 0 0 0,0-1-1 0 0,0 0 1 0 0,0 0 0 0 0,0 1 0 0 0,1-1 0 0 0,-1 0 0 0 0,0 0 0 0 0,0 1 0 0 0,8-7 125 0 0,7-15-184 0 0,52-114-6637 0 0,-57 109 6144 0 0,-7 17 270 0 0,0 1 1 0 0,1-1-1 0 0,7-13 1 0 0,-11 22 285 0 0,0 0 1 0 0,0 0-1 0 0,0 0 1 0 0,0 0-1 0 0,0-1 1 0 0,0 1-1 0 0,0 0 1 0 0,0 0-1 0 0,0 0 1 0 0,0 0 0 0 0,0 0-1 0 0,0 0 1 0 0,0 0-1 0 0,0 0 1 0 0,1 0-1 0 0,-1 0 1 0 0,0 0-1 0 0,0-1 1 0 0,0 1-1 0 0,0 0 1 0 0,0 0-1 0 0,0 0 1 0 0,0 0-1 0 0,0 0 1 0 0,0 0-1 0 0,0 0 1 0 0,0 0-1 0 0,0 0 1 0 0,0 0-1 0 0,0 0 1 0 0,0 0-1 0 0,1 0 1 0 0,-1 0 0 0 0,0 0-1 0 0,0 0 1 0 0,0 0-1 0 0,0 0 1 0 0,0 0-1 0 0,0 0 1 0 0,0 0-1 0 0,0 0 1 0 0,0 0-1 0 0,0 0 1 0 0,1 0-1 0 0,-1 0 1 0 0,0 0-1 0 0,0 0 1 0 0,0 0-1 0 0,0 0 1 0 0,0 0-1 0 0,0 0 1 0 0,0 0-1 0 0,0 0 1 0 0,0 0-1 0 0,0 0 1 0 0,0 0-1 0 0,1 0 1 0 0,-1 0 0 0 0,0 0-1 0 0,0 0 1 0 0,0 0-1 0 0,0 1 1 0 0,0-1-1 0 0,0 0 1 0 0,0 0-1 0 0,1 9 703 0 0,-4 11 459 0 0,-18 64 3274 0 0,-2 13-2777 0 0,22-90-1655 0 0,3-6 3 0 0,4-10 15 0 0,8-17 5 0 0,0-6-470 0 0,72-184-8998 0 0,-84 208 9107 0 0,-1 6 221 0 0,-1-1 0 0 0,1 1 0 0 0,0-1 1 0 0,-1 1-1 0 0,1-1 0 0 0,0 1 0 0 0,1-1 0 0 0,-1 1 0 0 0,0 0 0 0 0,1 0 0 0 0,2-4 0 0 0,-3 7 228 0 0,-1 0 1 0 0,0 1-1 0 0,1-1 1 0 0,-1 0-1 0 0,0 0 0 0 0,0 1 1 0 0,0-1-1 0 0,0 0 0 0 0,0 0 1 0 0,0 1-1 0 0,0 1 0 0 0,-7 34 3472 0 0,-14 43-1 0 0,8-34-2476 0 0,7-25-977 0 0,3-13-116 0 0,1 0-1 0 0,0 0 1 0 0,-2 15-1 0 0,4-23-23 0 0,0 0 0 0 0,0 0 0 0 0,0 0 0 0 0,0 0-1 0 0,0 0 1 0 0,0 0 0 0 0,0 0 0 0 0,0-1 0 0 0,0 1 0 0 0,0 0 0 0 0,0 0-1 0 0,0 0 1 0 0,0 0 0 0 0,0 0 0 0 0,0 0 0 0 0,0 0 0 0 0,1 0-1 0 0,-1 0 1 0 0,0 0 0 0 0,0 0 0 0 0,0 0 0 0 0,0 0 0 0 0,0 0-1 0 0,0 0 1 0 0,0 0 0 0 0,0 0 0 0 0,0 0 0 0 0,0 0 0 0 0,0 0-1 0 0,0 0 1 0 0,0 0 0 0 0,0 0 0 0 0,0 0 0 0 0,0 0 0 0 0,0 0 0 0 0,1 0-1 0 0,-1 0 1 0 0,0 0 0 0 0,0 0 0 0 0,0 0 0 0 0,0 0 0 0 0,0 0-1 0 0,0 0 1 0 0,0 0 0 0 0,0 0 0 0 0,0 0 0 0 0,0 0 0 0 0,0 0-1 0 0,0 0 1 0 0,0 0 0 0 0,0 0 0 0 0,0 0 0 0 0,0 0 0 0 0,0 0-1 0 0,0 0 1 0 0,0 0 0 0 0,0 0 0 0 0,1 0 0 0 0,-1 0 0 0 0,0 0 0 0 0,0 0-1 0 0,0 1 1 0 0,0-1 0 0 0,0 0 0 0 0,0 0 0 0 0,6-8-175 0 0,5-9-148 0 0,29-66-2273 0 0,-29 59 1482 0 0,1-1 0 0 0,0 1 1 0 0,24-32-1 0 0,-36 56 1057 0 0,1-1 0 0 0,-1 0-1 0 0,0 1 1 0 0,1-1 0 0 0,-1 1 0 0 0,0 0 0 0 0,1-1 0 0 0,-1 1-1 0 0,1-1 1 0 0,-1 1 0 0 0,0-1 0 0 0,1 1 0 0 0,-1 0 0 0 0,1-1-1 0 0,-1 1 1 0 0,1 0 0 0 0,0 0 0 0 0,-1-1 0 0 0,1 1 0 0 0,0 0-1 0 0,-1 0 52 0 0,1 1 0 0 0,-1-1-1 0 0,0 0 1 0 0,0 1-1 0 0,0-1 1 0 0,1 1-1 0 0,-1-1 1 0 0,0 0-1 0 0,0 1 1 0 0,0-1-1 0 0,0 1 1 0 0,0-1 0 0 0,0 1-1 0 0,0-1 1 0 0,0 0-1 0 0,0 1 1 0 0,0-1-1 0 0,0 1 1 0 0,0-1-1 0 0,-1 1 1 0 0,-5 27 1996 0 0,-11 17 2506 0 0,7-21-2889 0 0,2 0 0 0 0,-7 30 1 0 0,15-47-1466 0 0,2-5-48 0 0,8-11-19 0 0,8-16-173 0 0,5-16-2208 0 0,-1-2 0 0 0,28-77 0 0 0,-48 113 1952 0 0,-1 4 137 0 0,-1 0 0 0 0,1 0 1 0 0,1 0-1 0 0,-1 0 0 0 0,0 1 0 0 0,1-1 0 0 0,-1 0 1 0 0,1 1-1 0 0,3-5 0 0 0,-8 32 1130 0 0,-43 148 6148 0 0,46-172-7047 0 0,0 0-1 0 0,-1 0 0 0 0,1-1 1 0 0,0 1-1 0 0,0 0 0 0 0,0 0 0 0 0,0 0 1 0 0,0-1-1 0 0,0 1 0 0 0,0 0 0 0 0,0 0 1 0 0,0 0-1 0 0,0-1 0 0 0,0 1 0 0 0,0 0 1 0 0,1 1-1 0 0,-1-2 1 0 0,0 0 0 0 0,1 0 0 0 0,-1 0 0 0 0,1 0 0 0 0,-1 0 0 0 0,0 0 0 0 0,1-1 0 0 0,-1 1-1 0 0,0 0 1 0 0,1 0 0 0 0,-1 0 0 0 0,0 0 0 0 0,0-1 0 0 0,1 1 0 0 0,-1 0 0 0 0,0 0 0 0 0,1 0 0 0 0,-1-1 0 0 0,0 1 0 0 0,0 0 0 0 0,1 0 0 0 0,-1-1 0 0 0,0 0 0 0 0,18-24 392 0 0,20-39-4446 0 0,40-94 0 0 0,-76 152 3800 0 0,-1 4 225 0 0,-1 0 0 0 0,1 1-1 0 0,0-1 1 0 0,0 0 0 0 0,0 0 0 0 0,0 0 0 0 0,0 1 0 0 0,0-1 0 0 0,0 1-1 0 0,0-1 1 0 0,3-2 0 0 0,-9 28 3949 0 0,-21 56-101 0 0,-7 30-2647 0 0,32-109-1176 0 0,1 1 0 0 0,0-1 0 0 0,-1 1 0 0 0,1-1-1 0 0,0 1 1 0 0,0-1 0 0 0,0 1 0 0 0,0-1 0 0 0,1 3 0 0 0,-1-4-9 0 0,0 1 1 0 0,0-1 0 0 0,0 0 0 0 0,0 0-1 0 0,0 0 1 0 0,0 0 0 0 0,0 0 0 0 0,0 0-1 0 0,1 1 1 0 0,-1-1 0 0 0,0 0 0 0 0,0 0-1 0 0,0 0 1 0 0,0 0 0 0 0,0 0-1 0 0,0 0 1 0 0,0 0 0 0 0,1 0 0 0 0,-1 0-1 0 0,0 1 1 0 0,0-1 0 0 0,0 0 0 0 0,0 0-1 0 0,0 0 1 0 0,0 0 0 0 0,1 0 0 0 0,-1 0-1 0 0,0 0 1 0 0,0 0 0 0 0,0 0 0 0 0,0 0-1 0 0,0 0 1 0 0,1 0 0 0 0,-1 0 0 0 0,0 0-1 0 0,8-7-70 0 0,6-11-559 0 0,-1-1 0 0 0,-1-1 0 0 0,-1 0-1 0 0,11-28 1 0 0,-3 9-1714 0 0,4-18-1107 0 0,-17 40 2200 0 0,1 0 0 0 0,0 1-1 0 0,11-17 1 0 0,-18 33 1287 0 0,0 0-1 0 0,0 0 1 0 0,0 0-1 0 0,0 0 1 0 0,0 0-1 0 0,0 0 1 0 0,0 0 0 0 0,0 0-1 0 0,0 1 1 0 0,0-1-1 0 0,0 0 1 0 0,0 0-1 0 0,0 0 1 0 0,0 0-1 0 0,0 0 1 0 0,0 0-1 0 0,0 0 1 0 0,0 0 0 0 0,0 0-1 0 0,0 0 1 0 0,0 0-1 0 0,0 0 1 0 0,0 0-1 0 0,0 0 1 0 0,0 0-1 0 0,0 0 1 0 0,0 0 0 0 0,1 0-1 0 0,-1 0 1 0 0,0 0-1 0 0,0 0 1 0 0,0 0-1 0 0,0 0 1 0 0,0 0-1 0 0,0 0 1 0 0,0 0-1 0 0,0 0 1 0 0,-2 9 1597 0 0,-5 12 976 0 0,4-14-1918 0 0,-7 19 842 0 0,1 1 0 0 0,0-1-1 0 0,-5 36 1 0 0,14-61-1515 0 0,0-1 0 0 0,0 1-1 0 0,0 0 1 0 0,0-1 0 0 0,-1 1-1 0 0,1-1 1 0 0,0 1 0 0 0,0 0-1 0 0,0-1 1 0 0,0 1 0 0 0,0-1 0 0 0,1 1-1 0 0,-1 0 1 0 0,0-1 0 0 0,0 1-1 0 0,0-1 1 0 0,0 1 0 0 0,1 0-1 0 0,-1-1 1 0 0,0 1 0 0 0,1-1 0 0 0,-1 1-1 0 0,1 0 1 0 0,0-1-11 0 0,-1 0 0 0 0,1 0 0 0 0,-1 0-1 0 0,1 0 1 0 0,-1 0 0 0 0,1 0 0 0 0,0 0 0 0 0,-1-1 0 0 0,1 1 0 0 0,-1 0 0 0 0,1 0-1 0 0,-1 0 1 0 0,1-1 0 0 0,-1 1 0 0 0,1 0 0 0 0,-1-1 0 0 0,0 1 0 0 0,1-1-1 0 0,0 0 1 0 0,21-25-723 0 0,-21 26 681 0 0,12-21-1868 0 0,0-1-1 0 0,-1 0 0 0 0,17-43 0 0 0,2-7 392 0 0,-28 69 3897 0 0,-6 15-321 0 0,-7 22 840 0 0,8-29-2539 0 0,-44 144 2107 0 0,46-148-2468 0 0,-1 0 1 0 0,1 1-1 0 0,0-1 1 0 0,-1 0 0 0 0,1 0-1 0 0,0 1 1 0 0,0-1-1 0 0,0 0 1 0 0,0 0 0 0 0,0 1-1 0 0,0-1 1 0 0,0 0-1 0 0,1 0 1 0 0,-1 1-1 0 0,1 0 1 0 0,-1-1-6 0 0,0-1-1 0 0,0 0 1 0 0,0 0 0 0 0,0 0 0 0 0,1 0-1 0 0,-1 1 1 0 0,0-1 0 0 0,0 0-1 0 0,0 0 1 0 0,0 0 0 0 0,1 0-1 0 0,-1 0 1 0 0,0 0 0 0 0,0 0 0 0 0,0 0-1 0 0,1 0 1 0 0,-1 0 0 0 0,0 0-1 0 0,0 1 1 0 0,0-1 0 0 0,1 0 0 0 0,-1 0-1 0 0,0 0 1 0 0,0-1 0 0 0,1 1-1 0 0,-1 0 1 0 0,0 0 0 0 0,0 0-1 0 0,0 0 1 0 0,1 0 0 0 0,9-8-235 0 0,4-9-1113 0 0,-1-1 0 0 0,0-1 0 0 0,-1 0 0 0 0,-2 0 0 0 0,0-1 0 0 0,-1 0 0 0 0,7-25 0 0 0,-6 7-332 0 0,3-9 3720 0 0,-23 79 4225 0 0,0 1-3385 0 0,-14 68-1802 0 0,21-90-653 0 0,3-9-420 0 0,-4 23 120 0 0,4-24-122 0 0,-1 0 0 0 0,1-1-1 0 0,0 1 1 0 0,0-1 0 0 0,0 1 0 0 0,0 0-1 0 0,0-1 1 0 0,0 1 0 0 0,0-1 0 0 0,0 1 0 0 0,0 0-1 0 0,0-1 1 0 0,0 1 0 0 0,0-1 0 0 0,1 1-1 0 0,-1-1 1 0 0,0 1 0 0 0,0 0 0 0 0,0-1-1 0 0,1 1 1 0 0,-1-1 0 0 0,0 1 0 0 0,1-1-1 0 0,-1 1 1 0 0,1-1 0 0 0,-1 0 0 0 0,0 1-1 0 0,1-1 1 0 0,-1 1 0 0 0,1-1 0 0 0,-1 0-1 0 0,1 1 1 0 0,-1-1 0 0 0,2 1 0 0 0,-1-2-13 0 0,1 1 0 0 0,-1 0 0 0 0,0-1 0 0 0,0 1 0 0 0,0-1 0 0 0,1 1 0 0 0,-1-1 0 0 0,0 0 0 0 0,0 0 0 0 0,0 1 0 0 0,0-1 0 0 0,0 0 0 0 0,0 0-1 0 0,0 0 1 0 0,-1 0 0 0 0,1 0 0 0 0,1-2 0 0 0,14-22-316 0 0,-13 19 243 0 0,15-29-1312 0 0,-1-1 0 0 0,-2-1 0 0 0,14-50 0 0 0,-38 117 5917 0 0,-31 105-2560 0 0,40-135-1956 0 0,0 1-1 0 0,-1-1 1 0 0,1 0-1 0 0,0 1 0 0 0,0-1 1 0 0,0 1-1 0 0,0-1 0 0 0,0 0 1 0 0,0 1-1 0 0,0-1 1 0 0,0 1-1 0 0,0-1 0 0 0,0 1 1 0 0,0-1-1 0 0,0 0 0 0 0,0 1 1 0 0,0-1-1 0 0,0 1 1 0 0,0-1-1 0 0,0 0 0 0 0,0 1 1 0 0,1-1-1 0 0,-1 1 0 0 0,0-1 1 0 0,0 0-1 0 0,0 1 0 0 0,1-1 1 0 0,-1 0-1 0 0,1 1 1 0 0,-1-1 2 0 0,1 0 1 0 0,0 0 0 0 0,-1-1-1 0 0,1 1 1 0 0,0 0 0 0 0,-1 0-1 0 0,1-1 1 0 0,-1 1 0 0 0,1 0-1 0 0,0-1 1 0 0,-1 1-1 0 0,1-1 1 0 0,-1 1 0 0 0,1-1-1 0 0,0 0 1 0 0,19-23-59 0 0,37-71-2478 0 0,-39 63-12 0 0,-11 22 2036 0 0,-5 16 824 0 0,-7 18 902 0 0,-2 1-405 0 0,-7 23 1039 0 0,14-44-3050 0 0,-1 1 1 0 0,1-1 0 0 0,-1 0 0 0 0,1 1 0 0 0,1 4-1 0 0</inkml:trace>
</inkml:ink>
</file>

<file path=ppt/ink/ink3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35.052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8 78 432 0 0,'-1'3'8543'0'0,"2"6"-3731"0"0,-1-3-3632 0 0,1 0-1 0 0,0 0 0 0 0,0-1 1 0 0,3 8-1 0 0,12 14 1300 0 0,-24-40-3075 0 0,2 0 0 0 0,0 0-1 0 0,0-1 1 0 0,-6-26-1 0 0,9 29-1392 0 0,6 11 1241 0 0,8 20 1751 0 0,-5-9 597 0 0,-1-3-863 0 0,0 0 0 0 0,1-1 0 0 0,-1 0 0 0 0,2 0 0 0 0,-1-1 0 0 0,1 1 0 0 0,10 7 0 0 0,-17-14-729 0 0,1 0 1 0 0,-1 0-1 0 0,0 0 0 0 0,0 1 1 0 0,1-1-1 0 0,-1 0 1 0 0,0 0-1 0 0,1 0 1 0 0,-1 0-1 0 0,0 0 1 0 0,0 1-1 0 0,1-1 1 0 0,-1 0-1 0 0,0 0 1 0 0,1 0-1 0 0,-1 0 0 0 0,0 0 1 0 0,1 0-1 0 0,-1 0 1 0 0,0 0-1 0 0,1 0 1 0 0,-1 0-1 0 0,0 0 1 0 0,0 0-1 0 0,1-1 1 0 0,-1 1-1 0 0,0 0 0 0 0,1 0 1 0 0,-1 0-1 0 0,0 0 1 0 0,0 0-1 0 0,1-1 1 0 0,-1 1-1 0 0,0 0 1 0 0,0 0-1 0 0,1 0 1 0 0,-1-1-1 0 0,2-13-1 0 0,-8-16-954 0 0,-2 6-1437 0 0,-1 1 1 0 0,-15-26 0 0 0,23 47 2206 0 0,17 30 4990 0 0,15 18-2271 0 0,0 0-1561 0 0,-25-36-790 0 0,13 20-28 0 0,-18-29-161 0 0,0 1 0 0 0,1 0 0 0 0,-1 0-1 0 0,1-1 1 0 0,0 1 0 0 0,-1-1 0 0 0,1 1 0 0 0,0-1 0 0 0,0 0 0 0 0,0 0 0 0 0,3 2-1 0 0,-5-3-9 0 0,0 0-1 0 0,0 0 1 0 0,0 0-1 0 0,1 0 1 0 0,-1 0-1 0 0,0 0 0 0 0,0 0 1 0 0,0 0-1 0 0,0 0 1 0 0,0 0-1 0 0,0 0 1 0 0,1 0-1 0 0,-1 0 1 0 0,0 0-1 0 0,0 0 0 0 0,0 0 1 0 0,0 0-1 0 0,0 0 1 0 0,0 0-1 0 0,0 0 1 0 0,1 0-1 0 0,-1 0 0 0 0,0-1 1 0 0,0 1-1 0 0,0 0 1 0 0,0 0-1 0 0,0 0 1 0 0,0 0-1 0 0,0 0 0 0 0,0 0 1 0 0,0 0-1 0 0,1 0 1 0 0,-1 0-1 0 0,0-1 1 0 0,0 1-1 0 0,0 0 0 0 0,0 0 1 0 0,0 0-1 0 0,0 0 1 0 0,0 0-1 0 0,0-1 1 0 0,0-7-366 0 0,-4-8-382 0 0,-18-48-2612 0 0,19 58 2546 0 0,0-1-1 0 0,0 1 1 0 0,-1 0-1 0 0,0 0 1 0 0,0 0-1 0 0,0 1 1 0 0,-8-9-1 0 0,24 41 4822 0 0,-1-9-2530 0 0,-3-4-349 0 0,1 1 1 0 0,0-2-1 0 0,1 1 0 0 0,23 23 0 0 0,-33-37-1104 0 0,1 1 0 0 0,-1-1 0 0 0,0 1 0 0 0,1-1 0 0 0,-1 0-1 0 0,1 1 1 0 0,-1-1 0 0 0,1 1 0 0 0,-1-1 0 0 0,1 0-1 0 0,-1 1 1 0 0,1-1 0 0 0,-1 0 0 0 0,1 0 0 0 0,-1 1 0 0 0,1-1-1 0 0,0 0 1 0 0,-1 0 0 0 0,1 0 0 0 0,-1 0 0 0 0,1 0-1 0 0,0 0 1 0 0,-1 0 0 0 0,1 0 0 0 0,-1 0 0 0 0,2 0 0 0 0,-2-1-24 0 0,0 1 0 0 0,1-1 0 0 0,-1 0 1 0 0,0 1-1 0 0,0-1 0 0 0,0 0 0 0 0,1 1 1 0 0,-1-1-1 0 0,0 0 0 0 0,0 1 0 0 0,0-1 1 0 0,0 0-1 0 0,0 1 0 0 0,0-1 0 0 0,0 0 1 0 0,-1 1-1 0 0,1-2 0 0 0,-11-34-1504 0 0,-14-18-5310 0 0,15 35 3087 0 0,16 31 6322 0 0,1-1-1 0 0,12 16 1 0 0,43 42 1306 0 0,-44-49-3071 0 0,-16-19-789 0 0,12 13 215 0 0,-6-8-145 0 0,-8-6-102 0 0,0 0 1 0 0,0 0-1 0 0,0 0 0 0 0,1 0 0 0 0,-1 0 0 0 0,0 0 0 0 0,0 0 0 0 0,0 0 0 0 0,0 0 0 0 0,0 0 0 0 0,0 0 0 0 0,1 0 0 0 0,-1 0 1 0 0,0 0-1 0 0,0 0 0 0 0,0 0 0 0 0,0 0 0 0 0,0 0 0 0 0,1 0 0 0 0,-1 0 0 0 0,0 0 0 0 0,0 0 0 0 0,0 0 0 0 0,0 0 0 0 0,0 0 1 0 0,1 0-1 0 0,-1 0 0 0 0,0 0 0 0 0,0 0 0 0 0,0 0 0 0 0,0 0 0 0 0,0-1 0 0 0,0 1 0 0 0,0 0 0 0 0,0 0 0 0 0,1 0 0 0 0,-1 0 1 0 0,0-1-1 0 0,0-2-70 0 0,0 0 1 0 0,-1 0 0 0 0,1 0-1 0 0,0 0 1 0 0,-1 0-1 0 0,0 0 1 0 0,0 0 0 0 0,0 1-1 0 0,0-1 1 0 0,0 0 0 0 0,-3-4-1 0 0,1 0-96 0 0,-10-26-1316 0 0,-8-18-4438 0 0,44 91 6460 0 0,-9-17 1264 0 0,1 0 0 0 0,2 0 0 0 0,25 26 1 0 0,-42-49-1796 0 0,0 1 1 0 0,1-1-1 0 0,-1 0 1 0 0,0 1 0 0 0,0-1-1 0 0,0 0 1 0 0,1 0 0 0 0,-1 1-1 0 0,0-1 1 0 0,0 0-1 0 0,1 0 1 0 0,-1 0 0 0 0,0 1-1 0 0,1-1 1 0 0,-1 0 0 0 0,0 0-1 0 0,1 0 1 0 0,-1 0-1 0 0,0 0 1 0 0,1 1 0 0 0,-1-1-1 0 0,0 0 1 0 0,1 0 0 0 0,-1 0-1 0 0,0 0 1 0 0,1 0-1 0 0,-1 0 1 0 0,0 0 0 0 0,1 0-1 0 0,-1-1 1 0 0,1-9-20 0 0,-8-14-528 0 0,-8-16-1113 0 0,-20-62-5561 0 0,35 103 7199 0 0,0-1 1 0 0,0 0 0 0 0,0 0 0 0 0,0 0-1 0 0,0 0 1 0 0,0 0 0 0 0,0 0 0 0 0,0 0-1 0 0,0 0 1 0 0,0 0 0 0 0,0 0 0 0 0,1 0-1 0 0,-1 0 1 0 0,0 0 0 0 0,0 0 0 0 0,0 0-1 0 0,0 0 1 0 0,0 0 0 0 0,0 0 0 0 0,0 0-1 0 0,0 0 1 0 0,0 0 0 0 0,0 0 0 0 0,0 0-1 0 0,0 0 1 0 0,0 0 0 0 0,0 0 0 0 0,0 0-1 0 0,0 0 1 0 0,0 0 0 0 0,0 0 0 0 0,0 0-1 0 0,0 0 1 0 0,1 0 0 0 0,-1 0 0 0 0,0 0-1 0 0,0 0 1 0 0,0 0 0 0 0,0 0 0 0 0,0 0-1 0 0,0 0 1 0 0,0 0 0 0 0,0 0 0 0 0,0 0-1 0 0,0 0 1 0 0,6 8 526 0 0,7 10 1383 0 0,28 51 3495 0 0,-34-58-4918 0 0,0-1 0 0 0,1 0 1 0 0,1 0-1 0 0,12 10 0 0 0,-21-19-469 0 0,1-1 0 0 0,-1 1 0 0 0,1-1 0 0 0,-1 1 0 0 0,1-1 0 0 0,-1 1 0 0 0,1-1 0 0 0,0 1 0 0 0,-1-1 0 0 0,1 0 0 0 0,0 1 0 0 0,-1-1 0 0 0,1 0 0 0 0,0 0 0 0 0,0 0 0 0 0,-1 1 0 0 0,1-1-1 0 0,0 0 1 0 0,0 0 0 0 0,0 0 0 0 0,-1 0-5 0 0,1-1 0 0 0,-1 1 0 0 0,0 0 0 0 0,1-1 0 0 0,-1 1-1 0 0,0 0 1 0 0,0-1 0 0 0,1 1 0 0 0,-1 0 0 0 0,0-1 0 0 0,0 1-1 0 0,0-1 1 0 0,0 1 0 0 0,1 0 0 0 0,-1-1 0 0 0,0 1 0 0 0,0-1-1 0 0,0 1 1 0 0,0-1 0 0 0,0 1 0 0 0,0 0 0 0 0,0-1-1 0 0,0 1 1 0 0,0-1 0 0 0,-1-4-128 0 0,0 0 0 0 0,0 0-1 0 0,0 0 1 0 0,-3-6 0 0 0,-9-18-882 0 0,9 23 310 0 0,0-1-1 0 0,1 0 1 0 0,0 0 0 0 0,1-1-1 0 0,-1 1 1 0 0,1 0-1 0 0,1-1 1 0 0,-2-7 0 0 0,3 15 682 0 0,0-1 1 0 0,0 1 0 0 0,0 0 0 0 0,0 0 0 0 0,0 0-1 0 0,0 0 1 0 0,0 0 0 0 0,0 0 0 0 0,0 0 0 0 0,0 0-1 0 0,0 0 1 0 0,0-1 0 0 0,0 1 0 0 0,0 0 0 0 0,0 0 0 0 0,0 0-1 0 0,0 0 1 0 0,0 0 0 0 0,0 0 0 0 0,0 0 0 0 0,0 0-1 0 0,0-1 1 0 0,0 1 0 0 0,0 0 0 0 0,0 0 0 0 0,0 0-1 0 0,0 0 1 0 0,1 0 0 0 0,-1 0 0 0 0,0 0 0 0 0,0 0-1 0 0,0 0 1 0 0,0 0 0 0 0,0 0 0 0 0,0-1 0 0 0,0 1-1 0 0,0 0 1 0 0,0 0 0 0 0,0 0 0 0 0,1 0 0 0 0,-1 0-1 0 0,0 0 1 0 0,0 0 0 0 0,0 0 0 0 0,0 0 0 0 0,0 0-1 0 0,0 0 1 0 0,0 0 0 0 0,0 0 0 0 0,1 0 0 0 0,-1 0-1 0 0,0 0 1 0 0,0 0 0 0 0,0 0 0 0 0,0 0 0 0 0,0 0-1 0 0,7 6 550 0 0,5 11 1010 0 0,-5-6-1356 0 0,43 63 3540 0 0,-43-65-3249 0 0,0-1 0 0 0,1 1 0 0 0,0-1 0 0 0,1-1 1 0 0,15 12-1 0 0,-24-19-492 0 0,0 1 0 0 0,1-1 1 0 0,-1 0-1 0 0,0 1 0 0 0,1-1 1 0 0,-1 0-1 0 0,0 0 1 0 0,1 1-1 0 0,-1-1 0 0 0,1 0 1 0 0,-1 0-1 0 0,0 0 0 0 0,1 0 1 0 0,-1 1-1 0 0,1-1 0 0 0,-1 0 1 0 0,1 0-1 0 0,-1 0 0 0 0,1 0 1 0 0,-1 0-1 0 0,0 0 1 0 0,1 0-1 0 0,-1 0 0 0 0,1 0 1 0 0,-1 0-1 0 0,1-1 0 0 0,-1 1 1 0 0,1 0-1 0 0,0-1-41 0 0,-1 1 1 0 0,0-1-1 0 0,0 0 0 0 0,0 0 1 0 0,0 1-1 0 0,0-1 1 0 0,0 0-1 0 0,0 1 0 0 0,0-1 1 0 0,0 0-1 0 0,0 1 0 0 0,0-1 1 0 0,0 0-1 0 0,0 1 1 0 0,0-1-1 0 0,-1-1 0 0 0,-13-32-1852 0 0,12 30 1729 0 0,1 2 33 0 0,-1-1-201 0 0,0-1 1 0 0,1 0-1 0 0,-1 0 1 0 0,1 0-1 0 0,-1 0 1 0 0,1 0-1 0 0,0 0 0 0 0,1 0 1 0 0,-1-1-1 0 0,1 1 1 0 0,0 0-1 0 0,0-5 1 0 0,0 9 321 0 0,0 0 1 0 0,0 0 0 0 0,0 0 0 0 0,0 0-1 0 0,0 0 1 0 0,0-1 0 0 0,0 1 0 0 0,0 0 0 0 0,0 0-1 0 0,0 0 1 0 0,0 0 0 0 0,0 0 0 0 0,1 0-1 0 0,-1 0 1 0 0,0 0 0 0 0,0 0 0 0 0,0 0-1 0 0,0-1 1 0 0,0 1 0 0 0,0 0 0 0 0,0 0 0 0 0,0 0-1 0 0,0 0 1 0 0,0 0 0 0 0,1 0 0 0 0,-1 0-1 0 0,0 0 1 0 0,0 0 0 0 0,0 0 0 0 0,0 0-1 0 0,0 0 1 0 0,0 0 0 0 0,0 0 0 0 0,0 0 0 0 0,1 0-1 0 0,-1 0 1 0 0,0 0 0 0 0,0 0 0 0 0,0 0-1 0 0,0 0 1 0 0,0 0 0 0 0,0 0 0 0 0,0 0 0 0 0,0 0-1 0 0,1 0 1 0 0,5 5 15 0 0,4 9 1217 0 0,-9-13-1045 0 0,21 31 1132 0 0,-13-19-354 0 0,0 0 1 0 0,0 0 0 0 0,1-1 0 0 0,1-1-1 0 0,0 1 1 0 0,15 10 0 0 0,-26-21-944 0 0,0-1 0 0 0,0 0 0 0 0,0 0 0 0 0,1 0 0 0 0,-1 0 0 0 0,0 0 0 0 0,0 1 0 0 0,0-1 0 0 0,0 0 0 0 0,0 0 0 0 0,0 0 0 0 0,1 0 0 0 0,-1 0 0 0 0,0 0 0 0 0,0 0 0 0 0,0 0 0 0 0,0 1 0 0 0,0-1 0 0 0,1 0 0 0 0,-1 0 0 0 0,0 0 0 0 0,0 0 1 0 0,0 0-1 0 0,0 0 0 0 0,1 0 0 0 0,-1 0 0 0 0,0 0 0 0 0,0 0 0 0 0,0 0 0 0 0,0 0 0 0 0,1 0 0 0 0,-1 0 0 0 0,0 0 0 0 0,0 0 0 0 0,0-1 0 0 0,0 1 0 0 0,1 0 0 0 0,-1 0 0 0 0,0 0 0 0 0,0 0 0 0 0,0 0 0 0 0,0 0 0 0 0,0 0 0 0 0,1 0 0 0 0,-1-1 0 0 0,0 1 0 0 0,0 0 0 0 0,0 0 0 0 0,0 0 0 0 0,0 0 0 0 0,-1-13-115 0 0,-9-12-134 0 0,3 11-332 0 0,4 10 96 0 0,1 0-1 0 0,0 0 1 0 0,0-1-1 0 0,0 1 1 0 0,1 0-1 0 0,-1-1 0 0 0,1 1 1 0 0,0-1-1 0 0,0 1 1 0 0,1-1-1 0 0,-1-6 1 0 0,1 10 390 0 0,0 1 0 0 0,0 0 0 0 0,0 0 1 0 0,0-1-1 0 0,0 1 0 0 0,0 0 0 0 0,0 0 1 0 0,0 0-1 0 0,1-1 0 0 0,-1 1 1 0 0,0 0-1 0 0,0 0 0 0 0,0-1 0 0 0,0 1 1 0 0,0 0-1 0 0,0 0 0 0 0,1 0 0 0 0,-1 0 1 0 0,0-1-1 0 0,0 1 0 0 0,0 0 1 0 0,0 0-1 0 0,1 0 0 0 0,-1 0 0 0 0,0 0 1 0 0,0-1-1 0 0,0 1 0 0 0,1 0 0 0 0,-1 0 1 0 0,0 0-1 0 0,0 0 0 0 0,1 0 1 0 0,-1 0-1 0 0,9 4-324 0 0,7 12 2616 0 0,-14-14-2023 0 0,44 56 5447 0 0,-33-39-4805 0 0,2-1 0 0 0,17 17-1 0 0,-32-35-811 0 0,0 1 0 0 0,0-1 0 0 0,1 0 0 0 0,-1 1 0 0 0,0-1 0 0 0,0 0 0 0 0,1 0 0 0 0,-1 1 0 0 0,0-1 0 0 0,1 0 0 0 0,-1 0 0 0 0,0 1 0 0 0,1-1 0 0 0,-1 0 0 0 0,0 0 0 0 0,1 0 0 0 0,-1 0 0 0 0,0 1 0 0 0,1-1 0 0 0,-1 0 0 0 0,1 0 0 0 0,-1 0 0 0 0,0 0 0 0 0,1 0 0 0 0,0 0 0 0 0,-1-9-84 0 0,-9-18-364 0 0,8 26 363 0 0,-8-23-947 0 0,5 17 338 0 0,0-1-1 0 0,1 1 0 0 0,1-1 1 0 0,-1 0-1 0 0,1 0 0 0 0,0 0 0 0 0,1 0 1 0 0,-1-9-1 0 0,2 16 591 0 0,0 1-1 0 0,0 0 1 0 0,0-1 0 0 0,0 1 0 0 0,0 0-1 0 0,0-1 1 0 0,0 1 0 0 0,0 0-1 0 0,0-1 1 0 0,0 1 0 0 0,0 0 0 0 0,1-1-1 0 0,-1 1 1 0 0,0 0 0 0 0,0-1-1 0 0,0 1 1 0 0,0 0 0 0 0,0-1 0 0 0,1 1-1 0 0,-1 0 1 0 0,0-1 0 0 0,0 1-1 0 0,1 0 1 0 0,-1 0 0 0 0,0-1 0 0 0,0 1-1 0 0,1 0 1 0 0,-1 0 0 0 0,0 0-1 0 0,1-1 1 0 0,0 1 85 0 0,-1 0 0 0 0,1 1-1 0 0,0-1 1 0 0,-1 0 0 0 0,1 0-1 0 0,-1 0 1 0 0,1 1 0 0 0,0-1-1 0 0,-1 0 1 0 0,1 1 0 0 0,-1-1-1 0 0,1 0 1 0 0,-1 1 0 0 0,1-1-1 0 0,0 1 1 0 0,19 24 3094 0 0,-17-21-2474 0 0,17 23 2785 0 0,61 74 960 0 0,-80-100-4329 0 0,0 0 0 0 0,0 0 0 0 0,0 0 1 0 0,0 0-1 0 0,0 0 0 0 0,1 0 0 0 0,-1 0 0 0 0,0 0 0 0 0,3 1 0 0 0,-4-2-20 0 0,1 0 1 0 0,-1 0-1 0 0,0 0 0 0 0,0 0 0 0 0,0 0 0 0 0,0 0 0 0 0,0 0 0 0 0,1 0 0 0 0,-1 0 0 0 0,0 0 0 0 0,0 0 0 0 0,0 0 0 0 0,0 0 0 0 0,0 0 0 0 0,1 0 1 0 0,-1 0-1 0 0,0 0 0 0 0,0 0 0 0 0,0 0 0 0 0,0 0 0 0 0,0 0 0 0 0,0-1 0 0 0,1 1 0 0 0,-1 0 0 0 0,0 0 0 0 0,0 0 0 0 0,0 0 0 0 0,0 0 0 0 0,0 0 0 0 0,0 0 1 0 0,0 0-1 0 0,0-1 0 0 0,1 1 0 0 0,-1 0 0 0 0,0 0 0 0 0,-2-10-168 0 0,-14-32-508 0 0,11 32-81 0 0,0-1 0 0 0,1 0 0 0 0,0 0 0 0 0,1 0 0 0 0,-2-12 0 0 0,5 23 673 0 0,0 0 1 0 0,0-1 0 0 0,0 1-1 0 0,-1 0 1 0 0,1-1 0 0 0,0 1 0 0 0,0-1-1 0 0,0 1 1 0 0,0 0 0 0 0,0-1-1 0 0,0 1 1 0 0,0-1 0 0 0,0 1-1 0 0,0 0 1 0 0,1-1 0 0 0,-1 1-1 0 0,0-1 1 0 0,0 1 0 0 0,0 0 0 0 0,0-1-1 0 0,0 1 1 0 0,1 0 0 0 0,-1-1-1 0 0,0 1 1 0 0,0 0 0 0 0,1-1-1 0 0,-1 1 1 0 0,0 0 0 0 0,0-1 0 0 0,1 1-1 0 0,0 0 90 0 0,0 0 0 0 0,-1 0-1 0 0,1 0 1 0 0,0 0-1 0 0,-1 1 1 0 0,1-1 0 0 0,0 0-1 0 0,-1 1 1 0 0,1-1 0 0 0,0 0-1 0 0,-1 1 1 0 0,1-1 0 0 0,-1 1-1 0 0,1-1 1 0 0,0 1 0 0 0,19 22 2442 0 0,-20-23-2430 0 0,34 49 3439 0 0,-23-33-3096 0 0,0-1 0 0 0,0 1-1 0 0,1-2 1 0 0,18 17 0 0 0,-29-30-358 0 0,-1-1-1 0 0,0 0 0 0 0,0 1 0 0 0,1-1 0 0 0,-1 0 0 0 0,0 1 0 0 0,1-1 0 0 0,-1 0 1 0 0,0 0-1 0 0,1 1 0 0 0,-1-1 0 0 0,1 0 0 0 0,-1 0 0 0 0,0 0 0 0 0,1 0 0 0 0,-1 1 1 0 0,1-1-1 0 0,-1 0 0 0 0,0 0 0 0 0,1 0 0 0 0,-1 0 0 0 0,1 0 0 0 0,0 0 0 0 0,-1-8-90 0 0,-11-19-469 0 0,10 23 349 0 0,-4-6-165 0 0,2 5-287 0 0,1-1 0 0 0,-1 0 0 0 0,1 0 0 0 0,0 0 0 0 0,0-1 0 0 0,1 1 0 0 0,0 0 0 0 0,0-1 0 0 0,0-10 0 0 0,1 17 552 0 0,0 0-1 0 0,0 0 1 0 0,0-1-1 0 0,0 1 0 0 0,0 0 1 0 0,0 0-1 0 0,0 0 1 0 0,0 0-1 0 0,0 0 0 0 0,0-1 1 0 0,0 1-1 0 0,0 0 0 0 0,0 0 1 0 0,0 0-1 0 0,0 0 1 0 0,0 0-1 0 0,0-1 0 0 0,0 1 1 0 0,0 0-1 0 0,1 0 1 0 0,-1 0-1 0 0,0 0 0 0 0,0 0 1 0 0,0 0-1 0 0,0 0 1 0 0,0-1-1 0 0,0 1 0 0 0,0 0 1 0 0,1 0-1 0 0,-1 0 0 0 0,0 0 1 0 0,0 0-1 0 0,0 0 1 0 0,0 0-1 0 0,0 0 0 0 0,1 0 1 0 0,-1 0-1 0 0,0 0 1 0 0,0 0-1 0 0,0 0 0 0 0,0 0 1 0 0,1 0-1 0 0,6 5-394 0 0,6 13 3469 0 0,-12-17-2875 0 0,25 39 4443 0 0,-15-21-3181 0 0,1-2-1 0 0,0 0 1 0 0,25 27 0 0 0,-37-44-1349 0 0,0 0-1 0 0,0 0 1 0 0,0 0 0 0 0,0 1-1 0 0,0-1 1 0 0,0 0 0 0 0,1 0 0 0 0,-1 0-1 0 0,0 0 1 0 0,0 1 0 0 0,0-1 0 0 0,0 0-1 0 0,0 0 1 0 0,0 0 0 0 0,1 0 0 0 0,-1 0-1 0 0,0 1 1 0 0,0-1 0 0 0,0 0 0 0 0,0 0-1 0 0,1 0 1 0 0,-1 0 0 0 0,0 0 0 0 0,0 0-1 0 0,0 0 1 0 0,1 0 0 0 0,-1 0 0 0 0,0 0-1 0 0,0 0 1 0 0,0 0 0 0 0,0 0 0 0 0,1 0-1 0 0,-1 0 1 0 0,0 0 0 0 0,0 0-1 0 0,0 0 1 0 0,1 0 0 0 0,-1 0 0 0 0,0 0-1 0 0,0 0 1 0 0,0 0 0 0 0,0 0 0 0 0,1 0-1 0 0,-1-1 1 0 0,-1-10-105 0 0,-9-16-375 0 0,10 27 443 0 0,-4-10-289 0 0,-13-37-1174 0 0,16 42 971 0 0,0 1 0 0 0,0 0 0 0 0,0-1 0 0 0,1 1 0 0 0,-1-1 0 0 0,1 1-1 0 0,0 0 1 0 0,2-9 0 0 0,-2 12 435 0 0,0 1 1 0 0,0 0-1 0 0,0 0 0 0 0,0 0 0 0 0,0 0 0 0 0,0-1 0 0 0,0 1 0 0 0,0 0 0 0 0,0 0 0 0 0,0 0 1 0 0,0 0-1 0 0,0-1 0 0 0,0 1 0 0 0,1 0 0 0 0,-1 0 0 0 0,0 0 0 0 0,0 0 0 0 0,0 0 1 0 0,0-1-1 0 0,0 1 0 0 0,0 0 0 0 0,0 0 0 0 0,1 0 0 0 0,-1 0 0 0 0,0 0 0 0 0,0 0 1 0 0,0 0-1 0 0,0 0 0 0 0,0 0 0 0 0,1 0 0 0 0,-1-1 0 0 0,0 1 0 0 0,0 0 0 0 0,0 0 1 0 0,0 0-1 0 0,1 0 0 0 0,-1 0 0 0 0,0 0 0 0 0,7 5-859 0 0,5 11 1708 0 0,-11-14-807 0 0,3 5 1093 0 0,41 59 5643 0 0,-29-43-5813 0 0,2-1 0 0 0,25 26 0 0 0,-42-47-863 0 0,0 0 0 0 0,0 0 0 0 0,0 0 0 0 0,0 0-1 0 0,0-1 1 0 0,0 1 0 0 0,1 0 0 0 0,-1 0 0 0 0,0-1 0 0 0,2 1 0 0 0,-1-4-23 0 0,-6-7-196 0 0,-12-18-853 0 0,-7-16-3010 0 0,21 40 3421 0 0,0 0 0 0 0,1 0 0 0 0,-1 0 0 0 0,1-1 0 0 0,0 1 1 0 0,1 0-1 0 0,-1-1 0 0 0,1-6 0 0 0,0 11 600 0 0,0-1 1 0 0,0 1-1 0 0,0 0 1 0 0,0-1-1 0 0,0 1 1 0 0,0 0-1 0 0,0 0 0 0 0,0-1 1 0 0,0 1-1 0 0,0 0 1 0 0,0 0-1 0 0,0-1 1 0 0,0 1-1 0 0,0 0 1 0 0,0 0-1 0 0,0-1 0 0 0,0 1 1 0 0,1 0-1 0 0,-1 0 1 0 0,0-1-1 0 0,0 1 1 0 0,0 0-1 0 0,1 0 0 0 0,-1 0 1 0 0,0-1-1 0 0,0 1 1 0 0,0 0-1 0 0,1 0 1 0 0,-1 0-1 0 0,1-1 0 0 0,7 5-260 0 0,8 14 2093 0 0,-14-16-1160 0 0,66 94 8943 0 0,-12-17-8103 0 0,-46-69-1441 0 0,-10-17-186 0 0,-11-22-357 0 0,10 26 440 0 0,-11-25-762 0 0,7 16-305 0 0,-1 0 1 0 0,2 0-1 0 0,0 0 0 0 0,0-1 1 0 0,-2-17-1 0 0,6 29 961 0 0,0 1 0 0 0,0-1 1 0 0,0 0-1 0 0,0 1 0 0 0,-1-1 0 0 0,1 1 0 0 0,0-1 0 0 0,0 1 1 0 0,1-1-1 0 0,-1 0 0 0 0,0 1 0 0 0,0-1 0 0 0,0 1 0 0 0,0-1 1 0 0,0 1-1 0 0,1-1 0 0 0,-1 0 0 0 0,0 1 0 0 0,0-1 1 0 0,1 1-1 0 0,-1-1 0 0 0,1 0 0 0 0,-1 1 150 0 0,1 0 1 0 0,-1 0-1 0 0,1 0 0 0 0,-1 0 1 0 0,1 0-1 0 0,-1 1 0 0 0,1-1 1 0 0,-1 0-1 0 0,0 0 0 0 0,1 0 1 0 0,-1 0-1 0 0,1 0 0 0 0,-1 1 1 0 0,0-1-1 0 0,1 0 0 0 0,-1 0 1 0 0,1 1-1 0 0,-1-1 0 0 0,0 0 1 0 0,1 0-1 0 0,-1 1 0 0 0,22 25 4229 0 0,-19-22-2860 0 0,50 67 5864 0 0,13 16-6325 0 0,-56-78-752 0 0,-7-9-96 0 0,-4-8-113 0 0,-26-56-761 0 0,17 43-683 0 0,-11-35-1 0 0,21 56 1506 0 0,-1-1-1 0 0,1 1 1 0 0,0-1-1 0 0,0 0 1 0 0,0 1-1 0 0,-1-1 1 0 0,1 1-1 0 0,0-1 0 0 0,0 1 1 0 0,0-1-1 0 0,0 0 1 0 0,0 1-1 0 0,0-1 1 0 0,0 1-1 0 0,0-1 1 0 0,0 0-1 0 0,0 1 1 0 0,0-1-1 0 0,1 1 0 0 0,-1-1 1 0 0,0 1-1 0 0,0-1 1 0 0,0 1-1 0 0,1-2 1 0 0,0 2 27 0 0,-1 0 0 0 0,1 0 0 0 0,0 0 0 0 0,-1 0 0 0 0,1 0 0 0 0,-1 0 0 0 0,1 0 0 0 0,0 1 1 0 0,-1-1-1 0 0,1 0 0 0 0,-1 0 0 0 0,1 0 0 0 0,-1 1 0 0 0,1-1 0 0 0,-1 0 0 0 0,1 1 0 0 0,-1-1 0 0 0,1 1 1 0 0,24 22 1548 0 0,22 45 1059 0 0,-36-50-2346 0 0,1 0-1 0 0,1-1 1 0 0,15 16 0 0 0,-28-33-261 0 0,0 0 0 0 0,0 0 0 0 0,0 0 0 0 0,0 0 0 0 0,0 0 0 0 0,0 0 0 0 0,0 0 0 0 0,0 0 0 0 0,0 0 0 0 0,0-1 0 0 0,0 1 0 0 0,0 0 0 0 0,0 0 0 0 0,0 0 0 0 0,0 0 0 0 0,0 0 0 0 0,0 0 0 0 0,0 0 0 0 0,0 0 0 0 0,0 0 0 0 0,0 0 0 0 0,0 0 0 0 0,0 0 0 0 0,0 0 0 0 0,0 0 0 0 0,0 0 0 0 0,0 0 0 0 0,0 0 0 0 0,0 0 0 0 0,1 0 0 0 0,-1 0 0 0 0,0 0 0 0 0,0-1 0 0 0,0 1 0 0 0,0 0 0 0 0,0 0 0 0 0,0 0 0 0 0,0 0 0 0 0,0 0 0 0 0,0 0 0 0 0,0 0 0 0 0,0 0 0 0 0,-5-12-234 0 0,-8-15-210 0 0,9 19 338 0 0,-3-5-141 0 0,0 0 0 0 0,1 0 0 0 0,0 0 0 0 0,1-1 0 0 0,-5-25 0 0 0,10 38 237 0 0,0 1 0 0 0,-1-1 0 0 0,1 0 0 0 0,0 1 0 0 0,0-1 0 0 0,0 1 0 0 0,0-1 0 0 0,0 0 0 0 0,0 1 0 0 0,0-1 0 0 0,0 0 0 0 0,0 1 0 0 0,1-1 0 0 0,-1 1 0 0 0,0-1 0 0 0,0 0 0 0 0,0 1 0 0 0,1-1 0 0 0,-1 1 0 0 0,0-1 0 0 0,1 1 0 0 0,0-2 0 0 0,-1 2-3 0 0,1 0 0 0 0,-1 0 1 0 0,1 0-1 0 0,-1 0 0 0 0,1 0 0 0 0,-1 0 1 0 0,1 0-1 0 0,-1 0 0 0 0,1 0 1 0 0,-1 0-1 0 0,1 0 0 0 0,-1 0 0 0 0,0 0 1 0 0,1 1-1 0 0,-1-1 0 0 0,1 0 1 0 0,-1 0-1 0 0,1 0 0 0 0,-1 1 0 0 0,1-1 1 0 0,-1 1-1 0 0,4 1 61 0 0,0 1-1 0 0,-1 0 1 0 0,0 0-1 0 0,6 6 1 0 0,47 71 1692 0 0,-35-48-1201 0 0,27 31 0 0 0,-40-56-548 0 0,-12-18-198 0 0,-11-17-254 0 0,4 11 194 0 0,5 9 78 0 0,1-1 0 0 0,-1-1 0 0 0,1 1 0 0 0,1-1 0 0 0,0 0 0 0 0,0 0 0 0 0,1 0 0 0 0,-2-13 0 0 0,5 22 170 0 0,-1 1 0 0 0,1 0 0 0 0,0-1 0 0 0,0 1 0 0 0,0-1 0 0 0,0 1 0 0 0,0 0 0 0 0,0-1 0 0 0,0 1-1 0 0,0-1 1 0 0,0 1 0 0 0,0 0 0 0 0,0-1 0 0 0,0 1 0 0 0,0-1 0 0 0,0 1 0 0 0,0 0 0 0 0,0-1-1 0 0,0 1 1 0 0,1-1 0 0 0,-1 1 0 0 0,0 0 0 0 0,0-1 0 0 0,0 1 0 0 0,1 0 0 0 0,-1-1 0 0 0,0 1 0 0 0,0 0-1 0 0,1 0 1 0 0,-1-1 0 0 0,0 1 0 0 0,1 0 0 0 0,-1 0 0 0 0,0-1 0 0 0,1 1 0 0 0,-1 0 0 0 0,0 0-1 0 0,1 0 1 0 0,-1-1 0 0 0,1 1 0 0 0,-1 0 0 0 0,0 0 0 0 0,1 0 0 0 0,-1 0 0 0 0,1 0 0 0 0,-1 0 0 0 0,0 0-1 0 0,1 0 1 0 0,-1 0 0 0 0,1 0 0 0 0,-1 0 0 0 0,0 0 0 0 0,1 0 0 0 0,-1 1 0 0 0,1-1 0 0 0,-1 0-1 0 0,0 0 1 0 0,1 0 0 0 0,-1 0 0 0 0,0 1 0 0 0,1-1 0 0 0,-1 0 0 0 0,0 0 0 0 0,1 1 0 0 0,2 1 65 0 0,0 0 1 0 0,1 0 0 0 0,-1 1-1 0 0,-1-1 1 0 0,6 5 0 0 0,35 53 2013 0 0,-28-38-1695 0 0,1-1 1 0 0,21 22 0 0 0,-37-43-366 0 0,0 1 0 0 0,1-1 0 0 0,-1 1 0 0 0,1-1 1 0 0,-1 1-1 0 0,0-1 0 0 0,1 1 0 0 0,-1-1 1 0 0,1 0-1 0 0,0 1 0 0 0,-1-1 0 0 0,1 0 1 0 0,-1 1-1 0 0,1-1 0 0 0,-1 0 0 0 0,1 0 0 0 0,0 1 1 0 0,1-1-1 0 0,-4-9-366 0 0,-10-18-331 0 0,7 18 496 0 0,2 4-132 0 0,0 1-1 0 0,1-1 0 0 0,-1 0 1 0 0,1 0-1 0 0,0 0 0 0 0,0 0 1 0 0,1-1-1 0 0,0 1 1 0 0,-1-9-1 0 0,2 14 329 0 0,0 0 1 0 0,0 0-1 0 0,0 0 0 0 0,0 0 1 0 0,0-1-1 0 0,0 1 1 0 0,0 0-1 0 0,0 0 0 0 0,0 0 1 0 0,0 0-1 0 0,0 0 1 0 0,0-1-1 0 0,0 1 0 0 0,0 0 1 0 0,0 0-1 0 0,0 0 1 0 0,0 0-1 0 0,0 0 0 0 0,0 0 1 0 0,1 0-1 0 0,-1-1 0 0 0,0 1 1 0 0,0 0-1 0 0,0 0 1 0 0,0 0-1 0 0,0 0 0 0 0,0 0 1 0 0,0 0-1 0 0,1 0 1 0 0,-1 0-1 0 0,0 0 0 0 0,0 0 1 0 0,0 0-1 0 0,0 0 0 0 0,0 0 1 0 0,1 0-1 0 0,-1 0 1 0 0,0 0-1 0 0,0 0 0 0 0,0 0 1 0 0,0 0-1 0 0,0 0 1 0 0,1 0-1 0 0,-1 0 0 0 0,9 5 337 0 0,7 9 687 0 0,-15-14-968 0 0,23 25 1278 0 0,27 38 0 0 0,-8-10-591 0 0,-43-53-736 0 0,0 0-1 0 0,0 0 1 0 0,0 0 0 0 0,0 0-1 0 0,0 0 1 0 0,0 0-1 0 0,0 0 1 0 0,0 0 0 0 0,0 0-1 0 0,0 0 1 0 0,0 0-1 0 0,0 0 1 0 0,0 0-1 0 0,0 0 1 0 0,1 0 0 0 0,-1 0-1 0 0,0 0 1 0 0,0 0-1 0 0,0-1 1 0 0,0 1 0 0 0,0 0-1 0 0,0 0 1 0 0,0 0-1 0 0,0 0 1 0 0,0 0-1 0 0,0 0 1 0 0,0 0 0 0 0,0 0-1 0 0,0 0 1 0 0,0 0-1 0 0,0 0 1 0 0,0 0 0 0 0,1 0-1 0 0,-1 0 1 0 0,0 0-1 0 0,0 0 1 0 0,0 0 0 0 0,0 0-1 0 0,0 0 1 0 0,0 0-1 0 0,0 0 1 0 0,0 1-1 0 0,0-1 1 0 0,0 0 0 0 0,0 0-1 0 0,0 0 1 0 0,0 0-1 0 0,0 0 1 0 0,0 0 0 0 0,0 0-1 0 0,0 0 1 0 0,0 0-1 0 0,0 0 1 0 0,0 0-1 0 0,1 0 1 0 0,-1 0 0 0 0,0 0-1 0 0,0 0 1 0 0,0 0-1 0 0,0 0 1 0 0,0 0 0 0 0,-2-8 18 0 0,-3-10-196 0 0,-16-26-431 0 0,15 32 345 0 0,0 0 1 0 0,1-1-1 0 0,0 0 0 0 0,-4-19 1 0 0,9 32 245 0 0,0-1 0 0 0,0 1 0 0 0,-1 0 0 0 0,1-1 0 0 0,0 1-1 0 0,0-1 1 0 0,0 1 0 0 0,0 0 0 0 0,0-1 0 0 0,0 1 0 0 0,0-1 0 0 0,0 1 0 0 0,0 0 0 0 0,0-1 0 0 0,0 1 0 0 0,0-1 0 0 0,0 1 0 0 0,0 0 0 0 0,1-1 0 0 0,-1 1-1 0 0,0-1 1 0 0,0 1 0 0 0,0 0 0 0 0,0-1 0 0 0,1 1 0 0 0,-1 0 0 0 0,0-1 0 0 0,0 1 0 0 0,1 0 0 0 0,0-1 0 0 0,-1 1 12 0 0,1 0 0 0 0,0 0 0 0 0,-1 0 0 0 0,1 0 0 0 0,0 1 0 0 0,-1-1 0 0 0,1 0 0 0 0,0 0 0 0 0,-1 1 1 0 0,1-1-1 0 0,0 0 0 0 0,-1 1 0 0 0,1-1 0 0 0,-1 0 0 0 0,2 2 0 0 0,20 18 980 0 0,52 73 22 0 0,-70-87-1404 0 0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9 2881 0 0,'1'0'503'0'0,"-1"0"0"0"0,1 0 0 0 0,-1 0 0 0 0,0 0 0 0 0,1 0 1 0 0,-1 0-1 0 0,0 0 0 0 0,0 0 0 0 0,0 0 0 0 0,1 0 0 0 0,-1 0 1 0 0,1 0-1 0 0,-1-1 0 0 0,0 1 0 0 0,1 0 0 0 0,-1 0 0 0 0,0 0 1 0 0,1 0-1 0 0,-1-1 0 0 0,0 1 0 0 0,1 0 0 0 0,-1 0 0 0 0,1-1 504 0 0,-1 1-504 0 0,0-1 0 0 0,10-8 5139 0 0,-7 5-3802 0 0,0 2-1362 0 0,6-4 207 0 0,-3 3-3762 0 0</inkml:trace>
</inkml:ink>
</file>

<file path=ppt/ink/ink3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37.791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0 6 5065 0 0,'11'24'13565'0'0,"14"15"-9739"0"0,-3-7-2254 0 0,-15-20-983 0 0,-5-6-367 0 0,1-1-1 0 0,0 0 0 0 0,1 0 1 0 0,-1 0-1 0 0,1 0 1 0 0,0-1-1 0 0,6 6 0 0 0,-10-10-219 0 0,0 1-1 0 0,0-1 1 0 0,0 0-1 0 0,0 0 0 0 0,1 0 1 0 0,-1 0-1 0 0,0 0 1 0 0,0 0-1 0 0,0 1 0 0 0,0-1 1 0 0,0 0-1 0 0,0 0 1 0 0,1 0-1 0 0,-1 0 0 0 0,0 0 1 0 0,0 0-1 0 0,0 0 1 0 0,0 0-1 0 0,1 0 0 0 0,-1 0 1 0 0,0 0-1 0 0,0 0 1 0 0,0 0-1 0 0,0 0 0 0 0,0 0 1 0 0,1 0-1 0 0,-1 0 1 0 0,0 0-1 0 0,0 0 0 0 0,0 0 1 0 0,0 0-1 0 0,1 0 1 0 0,-1 0-1 0 0,0 0 0 0 0,0 0 1 0 0,0 0-1 0 0,0 0 1 0 0,0-1-1 0 0,1 1 0 0 0,-1 0 1 0 0,0 0-1 0 0,0 0 1 0 0,0-9 55 0 0,-5-8 3 0 0,-26-52-3918 0 0,2 6-145 0 0,36 74 2148 0 0,27 39 6933 0 0,-31-46-4884 0 0,12 20 1478 0 0,-9-14-1232 0 0,1 0 1 0 0,-1 0-1 0 0,2-1 0 0 0,-1 0 1 0 0,1 0-1 0 0,11 9 0 0 0,-19-18-432 0 0,0 0 0 0 0,0 0 0 0 0,1 0 0 0 0,-1 1 0 0 0,0-1 0 0 0,0 0-1 0 0,0 0 1 0 0,1 0 0 0 0,-1 0 0 0 0,0 1 0 0 0,0-1 0 0 0,1 0 0 0 0,-1 0 0 0 0,0 0-1 0 0,0 0 1 0 0,1 0 0 0 0,-1 0 0 0 0,0 0 0 0 0,0 0 0 0 0,1 0 0 0 0,-1 0-1 0 0,0 0 1 0 0,0 0 0 0 0,1 0 0 0 0,-1 0 0 0 0,0 0 0 0 0,0 0 0 0 0,1 0 0 0 0,-1 0-1 0 0,0 0 1 0 0,0 0 0 0 0,1 0 0 0 0,-1-1 0 0 0,0 1 0 0 0,1 0 0 0 0,0-10 70 0 0,-4-13-86 0 0,-4-1-85 0 0,-7-40-1939 0 0,14 64 1992 0 0,0 0 0 0 0,0 0 0 0 0,0 0 0 0 0,0 0-1 0 0,0 0 1 0 0,0-1 0 0 0,0 1 0 0 0,0 0 0 0 0,0 0-1 0 0,0 0 1 0 0,0 0 0 0 0,0 0 0 0 0,0 0-1 0 0,0 0 1 0 0,0 0 0 0 0,0 0 0 0 0,0 0 0 0 0,0 0-1 0 0,0 0 1 0 0,0 0 0 0 0,0-1 0 0 0,0 1 0 0 0,0 0-1 0 0,0 0 1 0 0,0 0 0 0 0,0 0 0 0 0,0 0 0 0 0,0 0-1 0 0,0 0 1 0 0,0 0 0 0 0,0 0 0 0 0,0 0 0 0 0,0 0-1 0 0,0 0 1 0 0,0 0 0 0 0,0 0 0 0 0,0-1 0 0 0,0 1-1 0 0,0 0 1 0 0,0 0 0 0 0,0 0 0 0 0,0 0 0 0 0,0 0-1 0 0,0 0 1 0 0,1 0 0 0 0,-1 0 0 0 0,0 0-1 0 0,0 0 1 0 0,0 0 0 0 0,0 0 0 0 0,0 0 0 0 0,0 0-1 0 0,0 0 1 0 0,0 0 0 0 0,0 0 0 0 0,0 0 0 0 0,0 0-1 0 0,0 0 1 0 0,0 0 0 0 0,1 0 0 0 0,-1 0 0 0 0,0 0-1 0 0,0 0 1 0 0,0 0 0 0 0,0 0 0 0 0,0 0 0 0 0,0 0-1 0 0,6 6-783 0 0,6 8 1274 0 0,16 30 1696 0 0,-20-31-1611 0 0,0 0 0 0 0,1-1 0 0 0,0 0 0 0 0,15 15 0 0 0,-24-26-521 0 0,1-1 1 0 0,-1 1 0 0 0,1 0-1 0 0,0-1 1 0 0,-1 1 0 0 0,1-1-1 0 0,0 1 1 0 0,0-1 0 0 0,-1 1-1 0 0,1-1 1 0 0,0 1 0 0 0,0-1-1 0 0,0 0 1 0 0,0 1 0 0 0,0-1-1 0 0,0 0 1 0 0,-1 0 0 0 0,1 0-1 0 0,1 0 1 0 0,-1 0-12 0 0,-1 0-1 0 0,1 0 1 0 0,-1-1-1 0 0,1 1 1 0 0,-1 0-1 0 0,0-1 0 0 0,1 1 1 0 0,-1-1-1 0 0,1 1 1 0 0,-1 0-1 0 0,0-1 1 0 0,0 1-1 0 0,1-1 1 0 0,-1 1-1 0 0,0-1 1 0 0,0 1-1 0 0,1-1 1 0 0,-1 1-1 0 0,0-1 1 0 0,0 1-1 0 0,0-1 0 0 0,0 1 1 0 0,0-2-1 0 0,1-5-73 0 0,-1 0 0 0 0,0 0 0 0 0,-1-13-1 0 0,0 11-55 0 0,0-5-246 0 0,0 8 40 0 0,0 0 1 0 0,1 0 0 0 0,0 0-1 0 0,0 0 1 0 0,0-1-1 0 0,1 1 1 0 0,0 1-1 0 0,3-13 1 0 0,-4 18 319 0 0,0 0 1 0 0,0 0-1 0 0,1-1 0 0 0,-1 1 1 0 0,0 0-1 0 0,0 0 0 0 0,0-1 1 0 0,0 1-1 0 0,1 0 0 0 0,-1 0 1 0 0,0 0-1 0 0,0-1 0 0 0,0 1 1 0 0,1 0-1 0 0,-1 0 0 0 0,0 0 1 0 0,1 0-1 0 0,-1 0 0 0 0,0-1 1 0 0,0 1-1 0 0,1 0 0 0 0,-1 0 1 0 0,0 0-1 0 0,0 0 0 0 0,1 0 1 0 0,-1 0-1 0 0,0 0 0 0 0,1 0 1 0 0,-1 0-1 0 0,0 0 0 0 0,0 0 1 0 0,1 0-1 0 0,-1 0 0 0 0,12 8 136 0 0,8 14 951 0 0,-19-20-913 0 0,13 17 1057 0 0,18 35 1 0 0,-25-39-1014 0 0,2-1 0 0 0,0 0 0 0 0,0 0 0 0 0,1-1 0 0 0,15 15 0 0 0,-25-27-199 0 0,1 0 0 0 0,-1-1-1 0 0,1 1 1 0 0,-1-1 0 0 0,1 1 0 0 0,-1-1-1 0 0,1 1 1 0 0,0-1 0 0 0,-1 1 0 0 0,1-1-1 0 0,0 0 1 0 0,0 1 0 0 0,-1-1-1 0 0,1 0 1 0 0,0 0 0 0 0,-1 0 0 0 0,1 1-1 0 0,2-1 1 0 0,-3 0-6 0 0,0-1-1 0 0,0 1 1 0 0,1 0 0 0 0,-1 0-1 0 0,0-1 1 0 0,1 1 0 0 0,-1 0-1 0 0,0-1 1 0 0,0 1 0 0 0,0 0-1 0 0,1-1 1 0 0,-1 1 0 0 0,0 0-1 0 0,0-1 1 0 0,0 1 0 0 0,0 0-1 0 0,0-1 1 0 0,0 1 0 0 0,0-1-1 0 0,0 1 1 0 0,0 0 0 0 0,0-1-1 0 0,0 1 1 0 0,0 0 0 0 0,0-1-1 0 0,0-4-50 0 0,-1 0-1 0 0,0 0 1 0 0,0 1-1 0 0,-2-8 1 0 0,-8-15-308 0 0,6 15-173 0 0,0 0-1 0 0,1 0 1 0 0,-5-25-1 0 0,29 64 732 0 0,-12-18 239 0 0,-7-8-433 0 0,9 14 280 0 0,2-1 0 0 0,0 0 0 0 0,0-1 1 0 0,2 0-1 0 0,21 16 0 0 0,-35-29-285 0 0,0 0 0 0 0,0 1 0 0 0,0-1-1 0 0,0 0 1 0 0,1 0 0 0 0,-1 0 0 0 0,0 0 0 0 0,0 0 0 0 0,0 0 0 0 0,0 1 0 0 0,1-1 0 0 0,-1 0-1 0 0,0 0 1 0 0,0 0 0 0 0,0 0 0 0 0,1 0 0 0 0,-1 0 0 0 0,0 0 0 0 0,0 0 0 0 0,0 0 0 0 0,1 0-1 0 0,-1 0 1 0 0,0 0 0 0 0,0 0 0 0 0,0 0 0 0 0,1 0 0 0 0,-1 0 0 0 0,0 0 0 0 0,0 0-1 0 0,1 0 1 0 0,-1 0 0 0 0,0 0 0 0 0,0-1 0 0 0,0 1 0 0 0,0 0 0 0 0,1 0 0 0 0,-1 0 0 0 0,0 0-1 0 0,0 0 1 0 0,0-1 0 0 0,1-9-15 0 0,-9-16-51 0 0,8 25 56 0 0,-2-4-105 0 0,-10-33-375 0 0,12 35 338 0 0,-1 1 0 0 0,1-1-1 0 0,0 0 1 0 0,-1 1 0 0 0,1-1 0 0 0,0 1 0 0 0,1-1 0 0 0,-1 0 0 0 0,0 1 0 0 0,1-1 0 0 0,-1 1 0 0 0,2-5 0 0 0,-1 7 142 0 0,-1 0-1 0 0,0 0 1 0 0,0 0-1 0 0,1 0 1 0 0,-1 0-1 0 0,0-1 1 0 0,1 1-1 0 0,-1 0 1 0 0,0 0-1 0 0,0 0 1 0 0,1 0-1 0 0,-1 0 1 0 0,0 0-1 0 0,1 0 1 0 0,-1 0-1 0 0,0 0 1 0 0,0 0-1 0 0,1 0 1 0 0,-1 0-1 0 0,0 0 1 0 0,0 0-1 0 0,1 0 1 0 0,-1 1-1 0 0,0-1 1 0 0,1 0-1 0 0,-1 0 1 0 0,0 0-1 0 0,0 0 1 0 0,1 0-1 0 0,-1 1 1 0 0,0-1-1 0 0,0 0 1 0 0,0 0-1 0 0,1 0 1 0 0,-1 1-1 0 0,0-1 1 0 0,0 0-1 0 0,0 0 1 0 0,0 1-1 0 0,0-1 1 0 0,1 1-1 0 0,10 12 640 0 0,-10-12-586 0 0,51 72 1630 0 0,23 28-646 0 0,-73-99-1000 0 0,0 0 0 0 0,0 0 0 0 0,0-1 1 0 0,0 1-1 0 0,0 0 0 0 0,0-1 0 0 0,3 2 0 0 0,-5-3-24 0 0,1 0 0 0 0,-1 0 0 0 0,0 1 0 0 0,0-1 1 0 0,1 0-1 0 0,-1 0 0 0 0,0 0 0 0 0,0 0 0 0 0,1 0 0 0 0,-1 0 1 0 0,0 0-1 0 0,0 0 0 0 0,1 0 0 0 0,-1 0 0 0 0,0 0 0 0 0,0 0 1 0 0,1 0-1 0 0,-1 0 0 0 0,0 0 0 0 0,0 0 0 0 0,1 0 0 0 0,-1 0 1 0 0,0 0-1 0 0,0-1 0 0 0,0 1 0 0 0,1 0 0 0 0,-1 0 0 0 0,0 0 1 0 0,1-1-11 0 0,-1 0 0 0 0,0 0 0 0 0,0 1 0 0 0,1-1 1 0 0,-1 0-1 0 0,0 1 0 0 0,0-1 0 0 0,0 0 1 0 0,0 0-1 0 0,0 1 0 0 0,0-1 0 0 0,0 0 1 0 0,0 1-1 0 0,0-1 0 0 0,-1 0 0 0 0,1 0 1 0 0,-14-42-362 0 0,11 36 105 0 0,0 0 0 0 0,0 0-1 0 0,1 0 1 0 0,0 0 0 0 0,1 0 0 0 0,0 0 0 0 0,0 0 0 0 0,0 0 0 0 0,1-8-1 0 0,0 15 254 0 0,0 0 0 0 0,0 0 0 0 0,0 0 0 0 0,0 0 0 0 0,0 0-1 0 0,0-1 1 0 0,0 1 0 0 0,0 0 0 0 0,0 0 0 0 0,0 0 0 0 0,0 0-1 0 0,0 0 1 0 0,0 0 0 0 0,0 0 0 0 0,1 0 0 0 0,-1 0 0 0 0,0 0-1 0 0,0 0 1 0 0,0 0 0 0 0,0 0 0 0 0,0 0 0 0 0,0 0 0 0 0,0 0-1 0 0,0 0 1 0 0,0 0 0 0 0,0 0 0 0 0,0 0 0 0 0,0 0 0 0 0,1 0-1 0 0,-1 0 1 0 0,0 0 0 0 0,0 0 0 0 0,0 0 0 0 0,0 0 0 0 0,0 0-1 0 0,0 0 1 0 0,0 0 0 0 0,0 0 0 0 0,0 0 0 0 0,0 0 0 0 0,0 0-1 0 0,0 0 1 0 0,1 0 0 0 0,-1 0 0 0 0,0 0 0 0 0,0 0 0 0 0,0 0 0 0 0,0 0-1 0 0,0 0 1 0 0,0 0 0 0 0,0 0 0 0 0,0 0 0 0 0,0 0 0 0 0,0 1-1 0 0,7 5 356 0 0,7 8 724 0 0,-14-13-1075 0 0,13 15 686 0 0,10 19 0 0 0,-16-23-525 0 0,1-1 0 0 0,-1 0 0 0 0,2 0 1 0 0,17 17-1 0 0,-26-28-147 0 0,0 0 0 0 0,0 0 0 0 0,1 0 0 0 0,-1 1-1 0 0,0-1 1 0 0,0 0 0 0 0,0 0 0 0 0,0 0 0 0 0,1 0 0 0 0,-1 1 0 0 0,0-1-1 0 0,0 0 1 0 0,0 0 0 0 0,1 0 0 0 0,-1 0 0 0 0,0 0 0 0 0,0 0 0 0 0,0 0 0 0 0,1 1-1 0 0,-1-1 1 0 0,0 0 0 0 0,0 0 0 0 0,1 0 0 0 0,-1 0 0 0 0,0 0 0 0 0,0 0 0 0 0,1 0-1 0 0,-1 0 1 0 0,0 0 0 0 0,0 0 0 0 0,1 0 0 0 0,-1-1 0 0 0,0 1 0 0 0,0 0 0 0 0,0 0-1 0 0,1 0 1 0 0,-1-10 30 0 0,-8-15-213 0 0,8 23 169 0 0,-14-29-236 0 0,10 23 117 0 0,1 1 0 0 0,-1-1-1 0 0,1 1 1 0 0,1-1 0 0 0,0 0-1 0 0,0 0 1 0 0,-1-12 0 0 0,3 20 114 0 0,1 0 0 0 0,-1 0 1 0 0,1 0-1 0 0,-1 0 0 0 0,1 1 1 0 0,-1-1-1 0 0,1 0 0 0 0,-1 0 1 0 0,1 1-1 0 0,-1-1 0 0 0,0 0 1 0 0,1 1-1 0 0,-1-1 0 0 0,1 0 1 0 0,-1 1-1 0 0,0-1 0 0 0,1 1 1 0 0,-1-1-1 0 0,0 0 0 0 0,0 1 1 0 0,1-1-1 0 0,-1 2 0 0 0,12 13 226 0 0,22 33 559 0 0,35 47 102 0 0,-68-95-872 0 0,0 1-1 0 0,-1 0 1 0 0,1 0 0 0 0,0-1-1 0 0,-1 1 1 0 0,1 0 0 0 0,0-1 0 0 0,0 1-1 0 0,0 0 1 0 0,0-1 0 0 0,-1 1-1 0 0,1-1 1 0 0,0 0 0 0 0,0 1 0 0 0,1-1-1 0 0,0-3-13 0 0,-5-8-11 0 0,2 8-28 0 0,-7-15-334 0 0,1 1-1 0 0,1-1 0 0 0,-5-22 1 0 0,11 38 407 0 0,-2-14-261 0 0,5 13 102 0 0,5 8 188 0 0,5 10 316 0 0,23 32 0 0 0,-28-34-223 0 0,2 0 0 0 0,-1-1 0 0 0,2 0 0 0 0,17 16 0 0 0,-28-28-150 0 0,0 0-1 0 0,0 0 0 0 0,0 0 0 0 0,0 1 0 0 0,0-1 0 0 0,0 0 0 0 0,0 0 1 0 0,0 0-1 0 0,0 0 0 0 0,0 0 0 0 0,0 0 0 0 0,1 0 0 0 0,-1 0 0 0 0,0 0 1 0 0,0 0-1 0 0,0 0 0 0 0,0 0 0 0 0,0 0 0 0 0,0 0 0 0 0,0 0 0 0 0,0 0 1 0 0,0 0-1 0 0,0 0 0 0 0,0 0 0 0 0,0 0 0 0 0,1 1 0 0 0,-1-1 0 0 0,0 0 1 0 0,0 0-1 0 0,0 0 0 0 0,0 0 0 0 0,0-1 0 0 0,0 1 0 0 0,0 0 1 0 0,0 0-1 0 0,0 0 0 0 0,0 0 0 0 0,1 0 0 0 0,-1 0 0 0 0,0 0 0 0 0,0 0 1 0 0,0 0-1 0 0,0 0 0 0 0,0 0 0 0 0,0 0 0 0 0,0 0 0 0 0,0 0 0 0 0,0 0 1 0 0,0 0-1 0 0,0 0 0 0 0,0 0 0 0 0,0 0 0 0 0,0 0 0 0 0,0-1 0 0 0,0 1 1 0 0,1 0-1 0 0,-1 0 0 0 0,0 0 0 0 0,0 0 0 0 0,0 0 0 0 0,0 0 0 0 0,0 0 1 0 0,0 0-1 0 0,0 0 0 0 0,0 0 0 0 0,0-1 0 0 0,-2-9-306 0 0,-5-11-145 0 0,7 21 445 0 0,-4-10-186 0 0,-2-7-624 0 0,-10-36-1 0 0,24 60 1110 0 0,2 6 439 0 0,2 6-20 0 0,-1-1-466 0 0,0-1-1 0 0,1 0 0 0 0,1-1 1 0 0,1-1-1 0 0,16 16 1 0 0,-30-31-241 0 0,0 0 0 0 0,0 0 0 0 0,0 0 0 0 0,0 0-1 0 0,0 0 1 0 0,0-1 0 0 0,0 1 0 0 0,0 0 0 0 0,0 0 0 0 0,0 0 0 0 0,0 0 0 0 0,0 0 0 0 0,0 0 0 0 0,0 0 0 0 0,0 0 0 0 0,0 0 0 0 0,0 0 0 0 0,0 0 0 0 0,0 0 0 0 0,0 0 0 0 0,0 0-1 0 0,0 0 1 0 0,0 0 0 0 0,0 0 0 0 0,0 0 0 0 0,0 0 0 0 0,0 0 0 0 0,0-1 0 0 0,0 1 0 0 0,0 0 0 0 0,0 0 0 0 0,0 0 0 0 0,0 0 0 0 0,0 0 0 0 0,0 0 0 0 0,0 0 0 0 0,0 0 0 0 0,0 0 0 0 0,0 0-1 0 0,0 0 1 0 0,0 0 0 0 0,0 0 0 0 0,0 0 0 0 0,0 0 0 0 0,0 0 0 0 0,0 0 0 0 0,0 0 0 0 0,1 0 0 0 0,-1 0 0 0 0,0 0 0 0 0,0 0 0 0 0,0 0 0 0 0,0 0 0 0 0,0 0 0 0 0,0 0 0 0 0,0 0 0 0 0,0 0-1 0 0,0 0 1 0 0,0 0 0 0 0,0 0 0 0 0,0 0 0 0 0,-2-8-97 0 0,-5-9-93 0 0,-5-6-45 0 0,5 10-22 0 0,0 0 0 0 0,2-1 0 0 0,-1 1 0 0 0,-5-23 0 0 0,12 36 251 0 0,-1 0 1 0 0,0 0-1 0 0,0 0 0 0 0,0 0 1 0 0,0 0-1 0 0,0 0 1 0 0,0 0-1 0 0,0 0 0 0 0,0 0 1 0 0,0 0-1 0 0,0 0 1 0 0,0 0-1 0 0,0 0 0 0 0,0 0 1 0 0,0 0-1 0 0,0 0 1 0 0,0 0-1 0 0,0 0 1 0 0,0 0-1 0 0,0 0 0 0 0,0 0 1 0 0,0 0-1 0 0,0 0 1 0 0,1 0-1 0 0,-1 0 0 0 0,0 0 1 0 0,0 0-1 0 0,0 0 1 0 0,0 0-1 0 0,0 0 1 0 0,0 0-1 0 0,0 0 0 0 0,0 0 1 0 0,0 0-1 0 0,0 0 1 0 0,0 0-1 0 0,0 0 0 0 0,0 0 1 0 0,0 0-1 0 0,0 0 1 0 0,0 0-1 0 0,0 0 1 0 0,0 0-1 0 0,0 0 0 0 0,0 0 1 0 0,0 0-1 0 0,0 0 1 0 0,0 0-1 0 0,0 0 0 0 0,0-1 1 0 0,0 1-1 0 0,0 0 1 0 0,0 0-1 0 0,0 0 0 0 0,0 0 1 0 0,0 0-1 0 0,0 0 1 0 0,0 0-1 0 0,0 0 1 0 0,0 0-1 0 0,0 0 0 0 0,0 0 1 0 0,0 0-1 0 0,0 0 1 0 0,0 0-1 0 0,6 5-12 0 0,9 12 540 0 0,-9-10-201 0 0,9 11 94 0 0,14 22 0 0 0,-5-6-101 0 0,20 25 366 0 0,-56-93-873 0 0,8 25-103 0 0,1 3 194 0 0,0 0 0 0 0,0-1 0 0 0,1 1 0 0 0,0-1 0 0 0,0 0-1 0 0,0 1 1 0 0,1-1 0 0 0,-1-9 0 0 0,2 15 102 0 0,0 1 0 0 0,0 0-1 0 0,0 0 1 0 0,0 0 0 0 0,0 0 0 0 0,0 0 0 0 0,0 0-1 0 0,0 0 1 0 0,0-1 0 0 0,0 1 0 0 0,0 0 0 0 0,0 0 0 0 0,0 0-1 0 0,0 0 1 0 0,0 0 0 0 0,1 0 0 0 0,-1 0 0 0 0,0 0 0 0 0,0 0-1 0 0,0-1 1 0 0,0 1 0 0 0,0 0 0 0 0,0 0 0 0 0,0 0 0 0 0,0 0-1 0 0,0 0 1 0 0,0 0 0 0 0,0 0 0 0 0,0 0 0 0 0,1 0 0 0 0,-1 0-1 0 0,0 0 1 0 0,0 0 0 0 0,0 0 0 0 0,0 0 0 0 0,0 0-1 0 0,0 0 1 0 0,0 0 0 0 0,0 0 0 0 0,1 0 0 0 0,-1 0 0 0 0,0 0-1 0 0,0 0 1 0 0,0 0 0 0 0,0 0 0 0 0,0 0 0 0 0,0 0 0 0 0,7 4-1 0 0,7 11 107 0 0,-12-13-43 0 0,7 8-125 0 0,23 26 700 0 0,-12-11-3244 0 0</inkml:trace>
</inkml:ink>
</file>

<file path=ppt/ink/ink3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42.100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 1 5617 0 0,'1'1'1048'0'0,"0"1"0"0"0,0 0-1 0 0,0-1 1 0 0,1 0 0 0 0,-1 1 0 0 0,1-1-1 0 0,2 3 1 0 0,4 3 1893 0 0,2 6-1292 0 0,-1 0 1 0 0,0 1 0 0 0,9 18 0 0 0,-10-16-848 0 0,1-1-1 0 0,14 19 1 0 0,-23-33-790 0 0,0-1-1 0 0,0 0 1 0 0,1 0-1 0 0,-1 0 0 0 0,0 1 1 0 0,0-1-1 0 0,0 0 1 0 0,0 0-1 0 0,0 1 1 0 0,0-1-1 0 0,1 0 0 0 0,-1 0 1 0 0,0 0-1 0 0,0 0 1 0 0,0 1-1 0 0,1-1 1 0 0,-1 0-1 0 0,0 0 1 0 0,0 0-1 0 0,0 0 0 0 0,1 0 1 0 0,-1 0-1 0 0,0 1 1 0 0,0-1-1 0 0,1 0 1 0 0,-1 0-1 0 0,0 0 1 0 0,0 0-1 0 0,1 0 0 0 0,-1 0 1 0 0,0 0-1 0 0,0 0 1 0 0,1 0-1 0 0,-1 0 1 0 0,0 0-1 0 0,1-10 17 0 0,-5-13-545 0 0,-6-3-453 0 0,7 18 388 0 0,0 0 0 0 0,0 0-1 0 0,1-1 1 0 0,0 1 0 0 0,0-1 0 0 0,1 1-1 0 0,0-12 1 0 0,1 20 631 0 0,1 0 1 0 0,-1 0-1 0 0,1 0 0 0 0,-1 1 1 0 0,1-1-1 0 0,-1 0 0 0 0,1 1 0 0 0,-1-1 1 0 0,1 0-1 0 0,-1 1 0 0 0,1-1 1 0 0,-1 1-1 0 0,0-1 0 0 0,1 1 1 0 0,-1-1-1 0 0,0 0 0 0 0,1 1 0 0 0,-1 0 1 0 0,0-1-1 0 0,1 1 0 0 0,9 15 1268 0 0,72 125 3098 0 0,-81-140-4391 0 0,-1 1 0 0 0,1-1 0 0 0,0 0 0 0 0,0 0 0 0 0,0 1 0 0 0,0-1 0 0 0,0 0 0 0 0,0 0 0 0 0,0 0 0 0 0,0 0 0 0 0,0 0 0 0 0,2 0 0 0 0,-3-1-19 0 0,0 0-1 0 0,0 0 1 0 0,0 0 0 0 0,1 0-1 0 0,-1 0 1 0 0,0 0-1 0 0,0 0 1 0 0,0 0 0 0 0,0 0-1 0 0,0 0 1 0 0,1 0 0 0 0,-1 0-1 0 0,0 0 1 0 0,0 0 0 0 0,0 0-1 0 0,0 0 1 0 0,0 0 0 0 0,1 0-1 0 0,-1 0 1 0 0,0 0 0 0 0,0 0-1 0 0,0 0 1 0 0,0-1 0 0 0,0 1-1 0 0,0 0 1 0 0,1 0 0 0 0,-1 0-1 0 0,0 0 1 0 0,0 0 0 0 0,0 0-1 0 0,0-1 1 0 0,0 1 0 0 0,0 0-1 0 0,0 0 1 0 0,0 0 0 0 0,0 0-1 0 0,1-13 72 0 0,-3-4-525 0 0,-1 1-1 0 0,-1 0 1 0 0,0 0 0 0 0,-9-19-1 0 0,-8-31-993 0 0,28 78-2391 0 0,29 54 6673 0 0,-27-50-2049 0 0,-2-1-331 0 0,0-1-1 0 0,2 0 1 0 0,0 0-1 0 0,0-1 0 0 0,15 17 1 0 0,-23-29-450 0 0,-1-1 1 0 0,0 1 0 0 0,1-1 0 0 0,-1 1 0 0 0,1-1-1 0 0,-1 1 1 0 0,1-1 0 0 0,-1 0 0 0 0,1 1 0 0 0,0-1-1 0 0,-1 0 1 0 0,1 1 0 0 0,-1-1 0 0 0,1 0-1 0 0,0 0 1 0 0,-1 1 0 0 0,1-1 0 0 0,0 0 0 0 0,-1 0-1 0 0,1 0 1 0 0,0 0 0 0 0,-1 0 0 0 0,2 0 0 0 0,-2 0-6 0 0,1-1 1 0 0,-1 1-1 0 0,0 0 1 0 0,1-1-1 0 0,-1 1 1 0 0,0-1-1 0 0,1 1 1 0 0,-1-1-1 0 0,0 1 1 0 0,0-1-1 0 0,0 1 1 0 0,1-1-1 0 0,-1 1 1 0 0,0-1-1 0 0,0 0 1 0 0,0 1-1 0 0,0-1 1 0 0,0 1 0 0 0,0-1-1 0 0,0 0 1 0 0,-5-33-294 0 0,-3 0-415 0 0,3 9-2460 0 0,-11-30 0 0 0,39 88 5124 0 0,-8-9-439 0 0,0 1-646 0 0,1 0 0 0 0,1-1-1 0 0,1-1 1 0 0,23 24 0 0 0,-41-47-870 0 0,1 1 0 0 0,0 0 1 0 0,-1-1-1 0 0,1 1 0 0 0,-1-1 0 0 0,1 1 1 0 0,0-1-1 0 0,0 1 0 0 0,-1-1 1 0 0,1 1-1 0 0,0-1 0 0 0,0 0 0 0 0,0 1 1 0 0,-1-1-1 0 0,1 0 0 0 0,0 0 1 0 0,0 1-1 0 0,1-1 0 0 0,-2 0-4 0 0,0-1 0 0 0,1 1 0 0 0,-1 0 0 0 0,0-1 0 0 0,1 1-1 0 0,-1 0 1 0 0,0-1 0 0 0,0 1 0 0 0,0 0 0 0 0,1-1 0 0 0,-1 1 0 0 0,0 0 0 0 0,0-1 0 0 0,0 1 0 0 0,0 0 0 0 0,0-1-1 0 0,0 1 1 0 0,1-1 0 0 0,-1 1 0 0 0,0 0 0 0 0,0-1 0 0 0,0 1 0 0 0,0-1 0 0 0,0 1 0 0 0,-1 0 0 0 0,1-1 0 0 0,-8-35-167 0 0,7 31 103 0 0,-35-129-3306 0 0,61 181 5152 0 0,17 29-237 0 0,-34-65-1435 0 0,-1 0-1 0 0,1 0 0 0 0,1-1 1 0 0,14 14-1 0 0,-23-24-104 0 0,1 1 0 0 0,-1 0 0 0 0,1-1 0 0 0,0 1 0 0 0,-1-1-1 0 0,1 1 1 0 0,-1-1 0 0 0,1 1 0 0 0,0-1 0 0 0,-1 0 0 0 0,1 1 0 0 0,0-1 0 0 0,0 0 0 0 0,-1 1 0 0 0,1-1 0 0 0,0 0 0 0 0,0 0-1 0 0,-1 0 1 0 0,1 0 0 0 0,1 0 0 0 0,-1 0-5 0 0,-1 0 0 0 0,0-1 0 0 0,1 1 0 0 0,-1-1 0 0 0,0 1 0 0 0,0 0 0 0 0,1-1-1 0 0,-1 1 1 0 0,0-1 0 0 0,0 1 0 0 0,0-1 0 0 0,0 1 0 0 0,1-1 0 0 0,-1 1 0 0 0,0-1 0 0 0,0 1 0 0 0,0-1-1 0 0,0 1 1 0 0,0-1 0 0 0,0 1 0 0 0,0-1 0 0 0,0 1 0 0 0,-1-1 0 0 0,-8-36-211 0 0,8 34 161 0 0,-8-24-271 0 0,-18-70-2100 0 0,27 97 2393 0 0,0 0-1 0 0,0 0 0 0 0,0 0 1 0 0,0 0-1 0 0,0 0 1 0 0,0 0-1 0 0,0 0 0 0 0,-1 0 1 0 0,1-1-1 0 0,0 1 1 0 0,0 0-1 0 0,0 0 0 0 0,0 0 1 0 0,0 0-1 0 0,0 0 0 0 0,0 0 1 0 0,0 0-1 0 0,0-1 1 0 0,0 1-1 0 0,0 0 0 0 0,0 0 1 0 0,0 0-1 0 0,0 0 0 0 0,0 0 1 0 0,0 0-1 0 0,0 0 1 0 0,0-1-1 0 0,0 1 0 0 0,0 0 1 0 0,0 0-1 0 0,0 0 1 0 0,0 0-1 0 0,0 0 0 0 0,0 0 1 0 0,0 0-1 0 0,0-1 0 0 0,0 1 1 0 0,0 0-1 0 0,1 0 1 0 0,-1 0-1 0 0,0 0 0 0 0,0 0 1 0 0,0 0-1 0 0,0 0 0 0 0,0 0 1 0 0,0 0-1 0 0,0 0 1 0 0,0 0-1 0 0,0-1 0 0 0,1 1 1 0 0,-1 0-1 0 0,0 0 1 0 0,0 0-1 0 0,0 0 0 0 0,0 0 1 0 0,0 0-1 0 0,0 0 0 0 0,1 0 1 0 0,5 7 33 0 0,8 13 1119 0 0,7 15-248 0 0,2-1 1 0 0,2-1 0 0 0,30 31 0 0 0,-54-64-878 0 0,-1 1 0 0 0,1-1 0 0 0,-1 1 0 0 0,1-1 1 0 0,-1 1-1 0 0,1 0 0 0 0,-1-1 0 0 0,1 0 0 0 0,0 1 0 0 0,-1-1 0 0 0,1 1 0 0 0,0-1 0 0 0,-1 0 1 0 0,1 0-1 0 0,1 1 0 0 0,-2-1 0 0 0,0 0 0 0 0,0-1 0 0 0,0 1 0 0 0,0 0 0 0 0,1 0 0 0 0,-1 0 0 0 0,0-1 0 0 0,0 1 0 0 0,0 0 1 0 0,0 0-1 0 0,0-1 0 0 0,0 1 0 0 0,0 0 0 0 0,0 0 0 0 0,0-1 0 0 0,0 1 0 0 0,0 0 0 0 0,0 0 0 0 0,0-1 0 0 0,0 1 0 0 0,0 0 0 0 0,0 0 0 0 0,0-1 1 0 0,0 1-1 0 0,0 0 0 0 0,0 0 0 0 0,0-1 0 0 0,0 1 0 0 0,-8-25-16 0 0,7 23 12 0 0,-13-34-274 0 0,4 13-434 0 0,1-1-1 0 0,-10-42 1 0 0,25 72 281 0 0,2 6 639 0 0,7 17 316 0 0,1-1 1 0 0,1 0-1 0 0,2-1 1 0 0,22 25-1 0 0,-40-52-525 0 0,-1 1 0 0 0,1 0 0 0 0,-1-1 0 0 0,1 1 1 0 0,0 0-1 0 0,-1-1 0 0 0,1 1 0 0 0,0-1 0 0 0,-1 1 0 0 0,1-1 0 0 0,0 1 0 0 0,0-1 0 0 0,-1 1 1 0 0,1-1-1 0 0,1 1 0 0 0,-1-2 0 0 0,-1 1-1 0 0,0 0 1 0 0,0-1 0 0 0,0 1-1 0 0,0 0 1 0 0,1 0 0 0 0,-1-1 0 0 0,0 1-1 0 0,0 0 1 0 0,0-1 0 0 0,0 1-1 0 0,0 0 1 0 0,0-1 0 0 0,0 1-1 0 0,0 0 1 0 0,0-1 0 0 0,0 1 0 0 0,0 0-1 0 0,0-1 1 0 0,0 1 0 0 0,0 0-1 0 0,0-1 1 0 0,0 1 0 0 0,0 0 0 0 0,-1-1-1 0 0,-9-29-71 0 0,3 15-161 0 0,-21-56-239 0 0,24 60-104 0 0,1 1 1 0 0,1 0 0 0 0,0 0-1 0 0,1-1 1 0 0,-1-12 0 0 0,2 23 552 0 0,0 0 1 0 0,0 0 0 0 0,0 0-1 0 0,0 0 1 0 0,0 0 0 0 0,0 0-1 0 0,0 0 1 0 0,0 0 0 0 0,0-1-1 0 0,0 1 1 0 0,0 0 0 0 0,0 0-1 0 0,0 0 1 0 0,0 0 0 0 0,0 0-1 0 0,0 0 1 0 0,0 0 0 0 0,0 0-1 0 0,0 0 1 0 0,0 0 0 0 0,0 0 0 0 0,0-1-1 0 0,0 1 1 0 0,0 0 0 0 0,0 0-1 0 0,0 0 1 0 0,0 0 0 0 0,0 0-1 0 0,0 0 1 0 0,0 0 0 0 0,0 0-1 0 0,0 0 1 0 0,0 0 0 0 0,0 0-1 0 0,0 0 1 0 0,1 0 0 0 0,-1 0-1 0 0,0 0 1 0 0,0 0 0 0 0,0 0-1 0 0,0 0 1 0 0,0 0 0 0 0,0-1-1 0 0,0 1 1 0 0,0 0 0 0 0,0 0-1 0 0,0 0 1 0 0,0 0 0 0 0,1 0-1 0 0,-1 0 1 0 0,0 0 0 0 0,0 0-1 0 0,0 1 1 0 0,0-1 0 0 0,0 0-1 0 0,0 0 1 0 0,0 0 0 0 0,0 0-1 0 0,0 0 1 0 0,0 0 0 0 0,0 0-1 0 0,0 0 1 0 0,1 0 0 0 0,-1 0-1 0 0,0 0 1 0 0,6 7-478 0 0,6 10 1002 0 0,-12-17-499 0 0,93 131 4962 0 0,-69-97-4802 0 0,-16-21 51 0 0,21 24 1 0 0,-29-37-214 0 0,0 0 1 0 0,0 0-1 0 0,0 0 0 0 0,0 1 0 0 0,0-1 1 0 0,0 0-1 0 0,0 0 0 0 0,0 0 0 0 0,0 0 0 0 0,1 0 1 0 0,-1 0-1 0 0,0 0 0 0 0,0 0 0 0 0,0 1 0 0 0,0-1 1 0 0,0 0-1 0 0,0 0 0 0 0,0 0 0 0 0,0 0 0 0 0,0 0 1 0 0,0 0-1 0 0,1 0 0 0 0,-1 0 0 0 0,0 0 1 0 0,0 0-1 0 0,0 0 0 0 0,0 0 0 0 0,0 0 0 0 0,0 0 1 0 0,0 0-1 0 0,1 0 0 0 0,-1 0 0 0 0,0 0 0 0 0,0 0 1 0 0,0 0-1 0 0,0 0 0 0 0,0 0 0 0 0,0 0 1 0 0,0 0-1 0 0,1 0 0 0 0,-1 0 0 0 0,0 0 0 0 0,0 0 1 0 0,0 0-1 0 0,0 0 0 0 0,0 0 0 0 0,0 0 0 0 0,0 0 1 0 0,0 0-1 0 0,1 0 0 0 0,-1 0 0 0 0,0-1 1 0 0,0 1-1 0 0,0-8-82 0 0,-5-12-129 0 0,-3-5-148 0 0,-11-33-1465 0 0,11 18-2240 0 0,8 40 4089 0 0,1 0 0 0 0,-1 0-1 0 0,0 0 1 0 0,1 0 0 0 0,-1 0 0 0 0,0 1-1 0 0,1-1 1 0 0,-1 0 0 0 0,0 0-1 0 0,0 0 1 0 0,1 0 0 0 0,-1 0 0 0 0,0 0-1 0 0,0 1 1 0 0,1-1 0 0 0,-1 0 0 0 0,0 0-1 0 0,0 0 1 0 0,1 1 0 0 0,-1-1-1 0 0,0 0 1 0 0,0 0 0 0 0,0 1 0 0 0,1-1-1 0 0,-1 0 1 0 0,0 0 0 0 0,0 1 0 0 0,0 0-1 0 0,10 10 1733 0 0,12 24 995 0 0,-5-8-2071 0 0,32 38 0 0 0,-38-55-587 0 0,-8-12-41 0 0,-5-7-29 0 0,-17-44-736 0 0,13 39 325 0 0,1-1 0 0 0,0 0 0 0 0,-4-23-1 0 0,9 38 369 0 0,0 0 0 0 0,0 0 0 0 0,0 0 0 0 0,0 0 0 0 0,1 0 0 0 0,-1 0 0 0 0,0 0 0 0 0,0 0 0 0 0,0 0 0 0 0,0 0 0 0 0,0 0 0 0 0,0 1 0 0 0,0-1 0 0 0,0 0 0 0 0,0 0 0 0 0,0 0 0 0 0,0 0 0 0 0,0 0 0 0 0,0 0 0 0 0,0 0 0 0 0,0 0 0 0 0,0 0 0 0 0,0 0 0 0 0,1 0-1 0 0,-1 0 1 0 0,0 0 0 0 0,0 0 0 0 0,0 0 0 0 0,0 0 0 0 0,0 0 0 0 0,0 0 0 0 0,0 0 0 0 0,0 0 0 0 0,0 0 0 0 0,0 0 0 0 0,0-1 0 0 0,0 1 0 0 0,0 0 0 0 0,0 0 0 0 0,0 0 0 0 0,0 0 0 0 0,0 0 0 0 0,0 0 0 0 0,1 0 0 0 0,-1 0 0 0 0,0 0 0 0 0,0 0 0 0 0,0 0 0 0 0,0 0 0 0 0,0 0-1 0 0,0 0 1 0 0,0 0 0 0 0,0 0 0 0 0,0 0 0 0 0,0 0 0 0 0,0 0 0 0 0,0-1 0 0 0,0 1 0 0 0,7 9 215 0 0,10 14 1006 0 0,-16-21-1232 0 0,106 157 2329 0 0,-103-155-2208 0 0,-2-5-68 0 0,-3-10-105 0 0,-7-14-66 0 0,-4-11-67 0 0,5 17-271 0 0,0 0 0 0 0,2 0 1 0 0,-4-25-1 0 0,9 44 472 0 0,0 0-1 0 0,-1 0 1 0 0,1-1 0 0 0,0 1 0 0 0,0 0-1 0 0,0 0 1 0 0,0 0 0 0 0,0 0-1 0 0,0 0 1 0 0,0 0 0 0 0,0 0 0 0 0,0 0-1 0 0,0-1 1 0 0,0 1 0 0 0,0 0 0 0 0,0 0-1 0 0,0 0 1 0 0,0 0 0 0 0,0 0 0 0 0,0 0-1 0 0,0-1 1 0 0,0 1 0 0 0,0 0 0 0 0,0 0-1 0 0,0 0 1 0 0,0 0 0 0 0,0 0-1 0 0,0 0 1 0 0,0 0 0 0 0,0-1 0 0 0,0 1-1 0 0,0 0 1 0 0,0 0 0 0 0,0 0 0 0 0,1 0-1 0 0,-1 0 1 0 0,0 0 0 0 0,0 0 0 0 0,0 0-1 0 0,0 0 1 0 0,0 0 0 0 0,0-1 0 0 0,0 1-1 0 0,0 0 1 0 0,0 0 0 0 0,1 0-1 0 0,-1 0 1 0 0,0 0 0 0 0,0 0 0 0 0,0 0-1 0 0,0 0 1 0 0,0 0 0 0 0,0 0 0 0 0,0 0-1 0 0,1 0 1 0 0,-1 0 0 0 0,0 0 0 0 0,0 0-1 0 0,7 7 42 0 0,7 13 781 0 0,16 27 492 0 0,-6-8-894 0 0,32 39 1 0 0,-56-77-400 0 0,1-1 1 0 0,-1 1 0 0 0,1-1-1 0 0,-1 1 1 0 0,0 0 0 0 0,1-1 0 0 0,-1 1-1 0 0,1-1 1 0 0,-1 1 0 0 0,1-1-1 0 0,0 0 1 0 0,-1 1 0 0 0,1-1-1 0 0,-1 0 1 0 0,1 1 0 0 0,1-1-1 0 0,-2-8-43 0 0,-8-17-221 0 0,-3 0-281 0 0,1 0 0 0 0,1-1 0 0 0,-6-32-1 0 0,32 78 1349 0 0,33 54 352 0 0,-32-46-995 0 0,35 44-1 0 0,-50-69-168 0 0,-2-5-22 0 0,-4-8-75 0 0,-9-22-191 0 0,9 25 193 0 0,1 3 35 0 0,-5-14-558 0 0,1 1 0 0 0,0-1 0 0 0,-5-29 0 0 0,28 70 1778 0 0,-16-20-1074 0 0,17 29 452 0 0,1-1 0 0 0,38 49 0 0 0,-55-79-521 0 0,-3-4-57 0 0,-6-15-144 0 0,-11-22-125 0 0,12 30-31 0 0,2-1-1 0 0,-1 0 1 0 0,1 0 0 0 0,1 0-1 0 0,-4-19 1 0 0,29 57 1612 0 0,97 140-190 0 0,-118-167-1080 0 0,-15-39-330 0 0,-3 5-186 0 0,11 22 187 0 0,0 1-1 0 0,1-1 1 0 0,0 0-1 0 0,0-1 0 0 0,2 1 1 0 0,-4-15-1 0 0,32 54 2916 0 0,73 109-1779 0 0,-89-125-807 0 0,-7-10 0 0 0,-5-8 0 0 0,-24-48-410 0 0,17 37 164 0 0,1 0 0 0 0,1-1 0 0 0,-8-24 0 0 0,16 43 247 0 0,0 0-1 0 0,1 0 0 0 0,-1 0 1 0 0,0 0-1 0 0,0 0 1 0 0,0 0-1 0 0,0 0 0 0 0,0 0 1 0 0,0 0-1 0 0,0 0 0 0 0,0 0 1 0 0,0 0-1 0 0,0 0 0 0 0,1 0 1 0 0,-1 0-1 0 0,0 0 1 0 0,0 0-1 0 0,0 0 0 0 0,0 0 1 0 0,0 0-1 0 0,0 0 0 0 0,0-1 1 0 0,0 1-1 0 0,0 0 1 0 0,0 0-1 0 0,0 0 0 0 0,0 0 1 0 0,0 0-1 0 0,0 0 0 0 0,0 0 1 0 0,1 0-1 0 0,-1 0 0 0 0,0 0 1 0 0,0 0-1 0 0,0 0 1 0 0,0-1-1 0 0,0 1 0 0 0,0 0 1 0 0,0 0-1 0 0,0 0 0 0 0,0 0 1 0 0,0 0-1 0 0,0 0 1 0 0,0 0-1 0 0,0 0 0 0 0,0 0 1 0 0,0 0-1 0 0,0 0 0 0 0,0-1 1 0 0,0 1-1 0 0,0 0 0 0 0,-1 0 1 0 0,1 0-1 0 0,0 0 1 0 0,0 0-1 0 0,0 0 0 0 0,0 0 1 0 0,0 0-1 0 0,0 0 0 0 0,0 0 1 0 0,8 8 247 0 0,10 16 195 0 0,-17-23-443 0 0,105 134 533 0 0,-103-130-547 0 0,-2-3 10 0 0,1-1-1 0 0,-1 1 1 0 0,0 0 0 0 0,0-1-1 0 0,1 1 1 0 0,-1-1 0 0 0,1 0-1 0 0,2 3 1 0 0,-9-25 4 0 0,-20-35-296 0 0,18 43 187 0 0,1 0 0 0 0,0-1 0 0 0,0 1 0 0 0,-3-19 1 0 0,9 32 111 0 0,0 0 0 0 0,0 0 1 0 0,0 0-1 0 0,0 1 0 0 0,0-1 1 0 0,0 0-1 0 0,0 0 0 0 0,0 0 1 0 0,0 0-1 0 0,0 0 1 0 0,0 0-1 0 0,0 0 0 0 0,0 0 1 0 0,0 0-1 0 0,1 0 0 0 0,-1 0 1 0 0,0 0-1 0 0,0 0 0 0 0,0 0 1 0 0,0 0-1 0 0,0 0 0 0 0,0 0 1 0 0,0 0-1 0 0,0 0 0 0 0,0 0 1 0 0,0 0-1 0 0,0 0 0 0 0,0 0 1 0 0,0 0-1 0 0,0 0 0 0 0,0 0 1 0 0,0 0-1 0 0,0 0 0 0 0,0 0 1 0 0,0 0-1 0 0,0 0 0 0 0,0 0 1 0 0,1 0-1 0 0,-1 0 1 0 0,0 0-1 0 0,0 0 0 0 0,0 0 1 0 0,0 0-1 0 0,0-1 0 0 0,0 1 1 0 0,0 0-1 0 0,0 0 0 0 0,0 0 1 0 0,0 0-1 0 0,0 0 0 0 0,0 0 1 0 0,0 0-1 0 0,0 0 0 0 0,0 0 1 0 0,0 0-1 0 0,0 0 0 0 0,0 0 1 0 0,0 0-1 0 0,0 0 0 0 0,0 0 1 0 0,0 0-1 0 0,0 0 0 0 0,0 0 1 0 0,6 5 179 0 0,5 7 172 0 0,80 106 449 0 0,-88-115-920 0 0,-3-5 12 0 0,-4-9-68 0 0,-10-18-75 0 0,1 6 18 0 0,8 15 175 0 0,0-1 0 0 0,1 1 0 0 0,0-1 0 0 0,0 0 0 0 0,-3-13 0 0 0,7 23 55 0 0,0-1 1 0 0,0 0 0 0 0,0 0-1 0 0,0 0 1 0 0,0 0 0 0 0,0 0-1 0 0,0 0 1 0 0,0 0-1 0 0,0 0 1 0 0,0 0 0 0 0,0 0-1 0 0,0 0 1 0 0,0 0 0 0 0,1 0-1 0 0,-1 0 1 0 0,0 0-1 0 0,0 0 1 0 0,0 0 0 0 0,0 0-1 0 0,0 0 1 0 0,0 0-1 0 0,0 0 1 0 0,0 0 0 0 0,0 0-1 0 0,0 0 1 0 0,0 0 0 0 0,0 0-1 0 0,0 0 1 0 0,0 0-1 0 0,1 0 1 0 0,-1 0 0 0 0,0 0-1 0 0,0 0 1 0 0,0 0 0 0 0,0 0-1 0 0,0 0 1 0 0,0 0-1 0 0,0 0 1 0 0,0 0 0 0 0,0 0-1 0 0,0 0 1 0 0,0 0 0 0 0,0 0-1 0 0,0 0 1 0 0,0 0-1 0 0,0 0 1 0 0,1 0 0 0 0,-1 0-1 0 0,0 0 1 0 0,0 0 0 0 0,0 0-1 0 0,0 0 1 0 0,0 0-1 0 0,0 0 1 0 0,0-1 0 0 0,0 1-1 0 0,0 0 1 0 0,0 0 0 0 0,0 0-1 0 0,0 0 1 0 0,0 0-1 0 0,0 0 1 0 0,0 0 0 0 0,0 0-1 0 0,9 8 315 0 0,8 10 251 0 0,5 10-374 0 0,21 35 0 0 0,8 11 13 0 0,-39-63-614 0 0,-11-12 112 0 0,-4-9 128 0 0,-6-9-22 0 0,2-1 0 0 0,0 0 0 0 0,-5-25 0 0 0,12 45 191 0 0,0 0-1 0 0,0 0 1 0 0,0 0 0 0 0,0 0 0 0 0,0-1 0 0 0,0 1-1 0 0,0 0 1 0 0,0 0 0 0 0,0 0 0 0 0,0 0-1 0 0,0 0 1 0 0,0 0 0 0 0,0-1 0 0 0,0 1 0 0 0,0 0-1 0 0,0 0 1 0 0,0 0 0 0 0,0 0 0 0 0,0 0 0 0 0,0-1-1 0 0,0 1 1 0 0,0 0 0 0 0,0 0 0 0 0,0 0 0 0 0,0 0-1 0 0,0 0 1 0 0,0 0 0 0 0,0-1 0 0 0,0 1 0 0 0,0 0-1 0 0,0 0 1 0 0,0 0 0 0 0,0 0 0 0 0,1 0 0 0 0,-1 0-1 0 0,0 0 1 0 0,0 0 0 0 0,0 0 0 0 0,0-1-1 0 0,0 1 1 0 0,0 0 0 0 0,0 0 0 0 0,1 0 0 0 0,-1 0-1 0 0,0 0 1 0 0,0 0 0 0 0,0 0 0 0 0,0 0 0 0 0,0 0-1 0 0,1 0 1 0 0,7 5 92 0 0,8 10 80 0 0,41 54 146 0 0,-28-32-216 0 0,-42-71-527 0 0,2 12 319 0 0,2 1 0 0 0,-10-33 0 0 0,19 54 109 0 0,0 0 0 0 0,0 0 0 0 0,0 0 0 0 0,0 0 0 0 0,0 1 0 0 0,0-1 0 0 0,0 0 0 0 0,0 0 0 0 0,0 0 0 0 0,0 0 0 0 0,0 0 0 0 0,0 0 0 0 0,0 0 0 0 0,1 0 0 0 0,-1 0 0 0 0,0 0 0 0 0,0 0 0 0 0,0 0 0 0 0,0 0 0 0 0,0 0 0 0 0,0 0 0 0 0,0 0 0 0 0,0 0 0 0 0,0 0 0 0 0,0 0 0 0 0,0 0 0 0 0,0 0 0 0 0,0 0 0 0 0,0 0 0 0 0,0 0 0 0 0,0 0 0 0 0,0 0 0 0 0,0 0 0 0 0,1 0 0 0 0,-1 0 0 0 0,0 0 0 0 0,0 0 0 0 0,0 0 0 0 0,0 0 0 0 0,0 0 0 0 0,0 0 0 0 0,0 0 1 0 0,0 0-1 0 0,0 0 0 0 0,0 0 0 0 0,0 0 0 0 0,0 0 0 0 0,0 0 0 0 0,0 0 0 0 0,0 0 0 0 0,0 0 0 0 0,0 0 0 0 0,0 0 0 0 0,0 0 0 0 0,0 0 0 0 0,0-1 0 0 0,0 1 0 0 0,0 0 0 0 0,0 0 0 0 0,0 0 0 0 0,1 0 0 0 0,-1 0 0 0 0,0 0 0 0 0,7 6 280 0 0,7 9 155 0 0,24 33 339 0 0,-21-25-1162 0 0,24 25 1 0 0,-41-49-982 0 0</inkml:trace>
</inkml:ink>
</file>

<file path=ppt/ink/ink3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46.436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 10 8898 0 0,'0'0'680'0'0,"0"-1"-448"0"0,0 1-1 0 0,0 0 1 0 0,0 0 0 0 0,-1-1-1 0 0,1 1 1 0 0,0 0 0 0 0,0-1-1 0 0,0 1 1 0 0,0 0 0 0 0,0-1-1 0 0,1 1 1 0 0,-1 0 0 0 0,0 0-1 0 0,0-1 1 0 0,0 1 0 0 0,0 0 0 0 0,0-1-1 0 0,0 1 1 0 0,0 0 0 0 0,0 0-1 0 0,1-1 1 0 0,-1 1 0 0 0,0 0-1 0 0,0 0 1 0 0,0-1 0 0 0,1 1-1 0 0,-1 0 1 0 0,0 0 0 0 0,0 0-1 0 0,0 0 1 0 0,1-1 0 0 0,-1 1-1 0 0,1 0 1 0 0,7 6 3135 0 0,8 15-1614 0 0,-15-21-1531 0 0,18 31 1374 0 0,-14-20-1321 0 0,2-1 0 0 0,0 1 0 0 0,0-1 0 0 0,1-1 0 0 0,9 10 0 0 0,-17-19-287 0 0,0 0 0 0 0,0 1 0 0 0,0-1 0 0 0,0 0 0 0 0,1 0 0 0 0,-1 0 1 0 0,0 0-1 0 0,0 0 0 0 0,0 1 0 0 0,0-1 0 0 0,0 0 0 0 0,1 0 0 0 0,-1 0 0 0 0,0 0 0 0 0,0 0 0 0 0,0 0 0 0 0,1 0 1 0 0,-1 0-1 0 0,0 0 0 0 0,0 0 0 0 0,0 0 0 0 0,1 0 0 0 0,-1 0 0 0 0,0 0 0 0 0,0 0 0 0 0,0 0 0 0 0,1 0 1 0 0,-1 0-1 0 0,0 0 0 0 0,0 0 0 0 0,0 0 0 0 0,1 0 0 0 0,-1 0 0 0 0,0 0 0 0 0,0 0 0 0 0,0 0 0 0 0,1-1 0 0 0,1-8-661 0 0,-5-18-1565 0 0,2 21 1170 0 0,0-4-306 0 0,0 5 594 0 0,0 1 1 0 0,1-1 0 0 0,0 1-1 0 0,-1-1 1 0 0,2 1-1 0 0,-1 0 1 0 0,2-9 0 0 0,-2 13 844 0 0,0 0 0 0 0,0 0 1 0 0,0 0-1 0 0,1-1 0 0 0,-1 1 1 0 0,0 0-1 0 0,0 0 0 0 0,0 0 1 0 0,1 0-1 0 0,-1 0 1 0 0,0 0-1 0 0,0 0 0 0 0,0 0 1 0 0,1 0-1 0 0,-1 0 0 0 0,0 0 1 0 0,0 0-1 0 0,1 0 0 0 0,-1 0 1 0 0,0 0-1 0 0,0 0 0 0 0,0 0 1 0 0,1 0-1 0 0,-1 0 0 0 0,0 0 1 0 0,0 0-1 0 0,0 0 1 0 0,1 0-1 0 0,-1 1 0 0 0,0-1 1 0 0,0 0-1 0 0,0 0 0 0 0,0 0 1 0 0,1 0-1 0 0,-1 0 0 0 0,0 0 1 0 0,0 1-1 0 0,0-1 0 0 0,0 0 1 0 0,0 0-1 0 0,0 0 0 0 0,1 1 1 0 0,-1-1-1 0 0,0 0 0 0 0,0 0 1 0 0,0 0-1 0 0,0 1 1 0 0,0-1-1 0 0,9 12 1504 0 0,-8-11-1287 0 0,39 66 4467 0 0,-31-49-4021 0 0,2 0 0 0 0,0 0 0 0 0,14 16 0 0 0,-24-34-723 0 0,-1 1 0 0 0,0-1 0 0 0,0 0-1 0 0,0 0 1 0 0,0 1 0 0 0,0-1 0 0 0,1 0 0 0 0,-1 0-1 0 0,0 1 1 0 0,0-1 0 0 0,1 0 0 0 0,-1 0-1 0 0,0 0 1 0 0,0 1 0 0 0,1-1 0 0 0,-1 0 0 0 0,0 0-1 0 0,0 0 1 0 0,1 0 0 0 0,-1 0 0 0 0,0 0-1 0 0,1 0 1 0 0,-1 1 0 0 0,0-1 0 0 0,0 0 0 0 0,1 0-1 0 0,-1 0 1 0 0,1 0 0 0 0,0-9-104 0 0,-8-21-728 0 0,5 24 343 0 0,-3-17-822 0 0,2 12-386 0 0,0 0 0 0 0,1-1 1 0 0,-1-16-1 0 0,13 50 2756 0 0,-5-12 52 0 0,27 50 3887 0 0,-28-53-4780 0 0,0-1 0 0 0,1 1-1 0 0,-1-1 1 0 0,2-1-1 0 0,-1 1 1 0 0,11 8 0 0 0,-16-13-222 0 0,0-1 1 0 0,1 0 0 0 0,-1 0 0 0 0,0 0 0 0 0,0 0 0 0 0,0 0-1 0 0,0 0 1 0 0,0 1 0 0 0,0-1 0 0 0,0 0 0 0 0,1 0-1 0 0,-1 0 1 0 0,0 0 0 0 0,0 0 0 0 0,0 0 0 0 0,0 0 0 0 0,1 0-1 0 0,-1 0 1 0 0,0 0 0 0 0,0 0 0 0 0,0 0 0 0 0,0 0-1 0 0,0 0 1 0 0,1 0 0 0 0,-1 0 0 0 0,0 0 0 0 0,0 0 0 0 0,0 0-1 0 0,0 0 1 0 0,1 0 0 0 0,-1 0 0 0 0,0 0 0 0 0,0 0 0 0 0,0 0-1 0 0,0 0 1 0 0,1 0 0 0 0,-1 0 0 0 0,0 0 0 0 0,0 0-1 0 0,0 0 1 0 0,0-1 0 0 0,0 1 0 0 0,0-9-217 0 0,-7-13-429 0 0,7 21 596 0 0,-18-44-1680 0 0,-5-14-2354 0 0,11 19-4239 0 0,15 45 6807 0 0,15 24 7709 0 0,-11-15-3911 0 0,35 67 4543 0 0,-35-68-6326 0 0,2 0 1 0 0,0 0-1 0 0,19 20 0 0 0,-27-32-498 0 0,-1 0 1 0 0,1-1-1 0 0,-1 1 0 0 0,1-1 1 0 0,-1 1-1 0 0,1-1 0 0 0,0 1 0 0 0,-1-1 1 0 0,1 1-1 0 0,-1-1 0 0 0,1 1 1 0 0,0-1-1 0 0,0 0 0 0 0,-1 1 0 0 0,1-1 1 0 0,0 0-1 0 0,0 0 0 0 0,0 1 1 0 0,0-2-9 0 0,-1 1 1 0 0,0 0 0 0 0,0-1-1 0 0,1 1 1 0 0,-1 0-1 0 0,0-1 1 0 0,0 1 0 0 0,0 0-1 0 0,0-1 1 0 0,0 1 0 0 0,1-1-1 0 0,-1 1 1 0 0,0 0 0 0 0,0-1-1 0 0,0 1 1 0 0,0 0 0 0 0,0-1-1 0 0,0 1 1 0 0,0-1 0 0 0,0 1-1 0 0,0 0 1 0 0,0-1 0 0 0,-1 1-1 0 0,1-1 1 0 0,-10-33-600 0 0,9 30 442 0 0,-7-20-475 0 0,-25-84-8694 0 0,50 134 12718 0 0,29 60 3100 0 0,-37-72-6155 0 0,0-1 0 0 0,1 1 1 0 0,21 21-1 0 0,-30-34-319 0 0,0 0 0 0 0,0-1 0 0 0,0 1 0 0 0,0 0 0 0 0,0 0 0 0 0,0 0 0 0 0,0-1 0 0 0,0 1 0 0 0,0-1 0 0 0,3 2 0 0 0,-1-5-3 0 0,-4-7-132 0 0,-23-60-1058 0 0,17 52-866 0 0,0-1 1 0 0,1 0 0 0 0,-4-26 0 0 0,10 45 1984 0 0,-1 0 0 0 0,1 0 0 0 0,0-1 0 0 0,0 1 0 0 0,0 0 0 0 0,0 0 0 0 0,0 0 0 0 0,0-1 0 0 0,0 1 0 0 0,0 0 0 0 0,0 0 0 0 0,0 0 0 0 0,0-1 0 0 0,0 1 0 0 0,0 0 1 0 0,0 0-1 0 0,0 0 0 0 0,0-1 0 0 0,0 1 0 0 0,0 0 0 0 0,0 0 0 0 0,0 0 0 0 0,0-1 0 0 0,0 1 0 0 0,0 0 0 0 0,0 0 0 0 0,0 0 0 0 0,0 0 0 0 0,0-1 0 0 0,0 1 0 0 0,1 0 0 0 0,-1 0 0 0 0,0 0 0 0 0,0 0 0 0 0,0-1 0 0 0,0 1 0 0 0,1 0 0 0 0,-1 0 0 0 0,0 0 0 0 0,0 0 1 0 0,8 7 12 0 0,6 15 2216 0 0,-13-21-2115 0 0,39 62 6292 0 0,3-1-4130 0 0,-10-15-1714 0 0,-33-46-488 0 0,1-1 1 0 0,-1 1-1 0 0,0 0 0 0 0,1-1 1 0 0,-1 1-1 0 0,1 0 0 0 0,-1-1 1 0 0,1 1-1 0 0,-1-1 0 0 0,1 1 1 0 0,-1-1-1 0 0,1 1 0 0 0,-1-1 1 0 0,1 1-1 0 0,0-1 0 0 0,-1 1 0 0 0,1-1 1 0 0,0 0-1 0 0,1 1 0 0 0,-2-1-20 0 0,1-1-1 0 0,-1 1 1 0 0,0-1-1 0 0,0 1 0 0 0,1-1 1 0 0,-1 1-1 0 0,0-1 1 0 0,0 1-1 0 0,0-1 1 0 0,0 1-1 0 0,1-1 0 0 0,-1 0 1 0 0,0 1-1 0 0,0-1 1 0 0,0 1-1 0 0,0-1 1 0 0,-1 1-1 0 0,1-1 0 0 0,0 0 1 0 0,-7-35-876 0 0,7 35 872 0 0,-10-33-1750 0 0,6 25 757 0 0,1-1 0 0 0,0 1 0 0 0,1-1 0 0 0,0 1 0 0 0,0-13 0 0 0,2 22 1005 0 0,0 0 1 0 0,0 0 0 0 0,0 0 0 0 0,0-1 0 0 0,0 1 0 0 0,0 0-1 0 0,0 0 1 0 0,0 0 0 0 0,0 0 0 0 0,0 0 0 0 0,0 0 0 0 0,0 0 0 0 0,0 0-1 0 0,0 0 1 0 0,0 0 0 0 0,0 0 0 0 0,0 0 0 0 0,0 0 0 0 0,0 0-1 0 0,0 0 1 0 0,0-1 0 0 0,0 1 0 0 0,0 0 0 0 0,0 0 0 0 0,0 0-1 0 0,0 0 1 0 0,0 0 0 0 0,0 0 0 0 0,0 0 0 0 0,0 0 0 0 0,0 0-1 0 0,0 0 1 0 0,0 0 0 0 0,1 0 0 0 0,-1 0 0 0 0,0 0 0 0 0,0 0 0 0 0,0 0-1 0 0,0 0 1 0 0,0 0 0 0 0,0 0 0 0 0,0 0 0 0 0,0 0 0 0 0,0 0-1 0 0,0 0 1 0 0,0 0 0 0 0,0 0 0 0 0,0 0 0 0 0,0 0 0 0 0,1 0-1 0 0,-1 0 1 0 0,0 0 0 0 0,0 0 0 0 0,0 0 0 0 0,0 0 0 0 0,0 0 0 0 0,0 0-1 0 0,0 0 1 0 0,0 0 0 0 0,0 0 0 0 0,0 0 0 0 0,0 0 0 0 0,0 0-1 0 0,0 0 1 0 0,0 0 0 0 0,0 0 0 0 0,0 0 0 0 0,0 1 0 0 0,6 5 1035 0 0,4 8 1065 0 0,28 48 3079 0 0,25 27-4189 0 0,-61-86-960 0 0,-1-2-29 0 0,0 0 0 0 0,0 1 0 0 0,0-1 0 0 0,0 0 0 0 0,0 0 0 0 0,1 0 0 0 0,-1 0 0 0 0,0 0 1 0 0,0 0-1 0 0,1 0 0 0 0,-1 0 0 0 0,3 1 0 0 0,-4-4-13 0 0,0 1-1 0 0,0 0 1 0 0,0 0-1 0 0,0-1 1 0 0,0 1 0 0 0,0 0-1 0 0,0-1 1 0 0,0 1 0 0 0,-1 0-1 0 0,1 0 1 0 0,-1-1 0 0 0,0-1-1 0 0,-23-59-637 0 0,-8-25-3830 0 0,40 96 4266 0 0,5 9 2468 0 0,70 104 491 0 0,-79-115-2711 0 0,-2-4 7 0 0,-1 1 0 0 0,1-1 0 0 0,1 0 0 0 0,-1 0 0 0 0,0 0 0 0 0,1 0 0 0 0,-1 0 0 0 0,1 0 0 0 0,5 3 0 0 0,-5-7-17 0 0,-3-6-85 0 0,-3-7-200 0 0,3 13 219 0 0,-11-42-689 0 0,-6-33-2479 0 0,17 76 3198 0 0,0 0 0 0 0,0 0 0 0 0,0 0-1 0 0,0 0 1 0 0,0 0 0 0 0,0 0 0 0 0,0 0 0 0 0,0 0 0 0 0,0 0-1 0 0,0 0 1 0 0,0 0 0 0 0,0 0 0 0 0,0 0 0 0 0,1 0 0 0 0,-1 0-1 0 0,0 0 1 0 0,0 0 0 0 0,0 0 0 0 0,0 0 0 0 0,0 0 0 0 0,0 0-1 0 0,0 0 1 0 0,0 0 0 0 0,0 0 0 0 0,0 0 0 0 0,0 0 0 0 0,0 0-1 0 0,0 0 1 0 0,0 0 0 0 0,0 0 0 0 0,0 0 0 0 0,1 0 0 0 0,-1 0-1 0 0,0 0 1 0 0,0-1 0 0 0,0 1 0 0 0,0 0 0 0 0,0 0 0 0 0,0 0-1 0 0,0 0 1 0 0,0 0 0 0 0,0 0 0 0 0,0 0 0 0 0,0 0 0 0 0,0 0-1 0 0,0 0 1 0 0,0 0 0 0 0,0 0 0 0 0,0 0 0 0 0,0 0 0 0 0,0 0 0 0 0,0-1-1 0 0,0 1 1 0 0,0 0 0 0 0,0 0 0 0 0,0 0 0 0 0,0 0 0 0 0,0 0-1 0 0,0 0 1 0 0,0 0 0 0 0,0 0 0 0 0,0 0 0 0 0,0 0 0 0 0,0 0-1 0 0,-1 0 1 0 0,7 6 172 0 0,5 9 772 0 0,18 35 1292 0 0,-19-31-1938 0 0,1-1-1 0 0,0 0 1 0 0,1 0-1 0 0,18 19 1 0 0,-29-37-284 0 0,-1 1-1 0 0,0-1 1 0 0,0 0 0 0 0,1 1 0 0 0,-1-1-1 0 0,0 0 1 0 0,1 1 0 0 0,-1-1 0 0 0,0 0-1 0 0,1 1 1 0 0,-1-1 0 0 0,1 0-1 0 0,-1 0 1 0 0,0 1 0 0 0,1-1 0 0 0,-1 0-1 0 0,1 0 1 0 0,-1 0 0 0 0,1 0 0 0 0,-1 0-1 0 0,1 0 1 0 0,-1 1 0 0 0,1-1 0 0 0,0-9-49 0 0,-9-17-291 0 0,8 25 323 0 0,-26-76-2029 0 0,23 63-2738 0 0,-4-25-1 0 0,7 39 4761 0 0,0-1-1 0 0,0 1 0 0 0,0 0 1 0 0,0 0-1 0 0,0 0 0 0 0,0 0 1 0 0,0 0-1 0 0,0 0 0 0 0,0 0 1 0 0,0 0-1 0 0,0 0 0 0 0,0 0 0 0 0,0 0 1 0 0,0 0-1 0 0,0-1 0 0 0,0 1 1 0 0,0 0-1 0 0,0 0 0 0 0,1 0 1 0 0,-1 0-1 0 0,0 0 0 0 0,0 0 1 0 0,0 0-1 0 0,0 0 0 0 0,0 0 1 0 0,0 0-1 0 0,0 0 0 0 0,0 0 1 0 0,0 0-1 0 0,0 0 0 0 0,0 0 1 0 0,0 0-1 0 0,0 0 0 0 0,0 0 0 0 0,0 0 1 0 0,1 0-1 0 0,-1 0 0 0 0,0 0 1 0 0,0 0-1 0 0,0 0 0 0 0,0 0 1 0 0,0 0-1 0 0,0 0 0 0 0,0 0 1 0 0,0 0-1 0 0,0 0 0 0 0,0 0 1 0 0,0 0-1 0 0,0 0 0 0 0,0 0 1 0 0,1 0-1 0 0,-1 0 0 0 0,0 0 1 0 0,0 0-1 0 0,0 0 0 0 0,0 0 0 0 0,0 0 1 0 0,0 0-1 0 0,0 0 0 0 0,0 0 1 0 0,0 0-1 0 0,0 0 0 0 0,0 0 1 0 0,0 0-1 0 0,0 0 0 0 0,0 0 1 0 0,0 0-1 0 0,0 1 0 0 0,8 6 651 0 0,7 10 2509 0 0,25 46 3935 0 0,12 16-5439 0 0,-52-79-1628 0 0,0 1 0 0 0,0-1 0 0 0,1 1 1 0 0,-1-1-1 0 0,0 1 0 0 0,1-1 0 0 0,-1 1 1 0 0,0-1-1 0 0,1 1 0 0 0,-1-1 0 0 0,1 0 1 0 0,-1 1-1 0 0,0-1 0 0 0,1 0 0 0 0,-1 1 1 0 0,1-1-1 0 0,-1 0 0 0 0,1 0 0 0 0,-1 1 1 0 0,2-1-1 0 0,-2-10-245 0 0,-10-21-762 0 0,9 30 876 0 0,-4-12-939 0 0,1-1-1 0 0,0 1 0 0 0,1-1 1 0 0,0 0-1 0 0,0-17 1 0 0,3 31 1163 0 0,0 0 0 0 0,1 0 0 0 0,-1 0 0 0 0,0 0 1 0 0,0 0-1 0 0,1 0 0 0 0,-1 0 0 0 0,0 0 0 0 0,0 0 1 0 0,1 0-1 0 0,-1 0 0 0 0,0 0 0 0 0,0 0 0 0 0,0 1 0 0 0,1-1 1 0 0,-1 0-1 0 0,0 0 0 0 0,0 0 0 0 0,0 0 0 0 0,1 0 0 0 0,-1 1 1 0 0,0-1-1 0 0,0 0 0 0 0,0 0 0 0 0,0 0 0 0 0,0 1 1 0 0,0-1-1 0 0,1 0 0 0 0,-1 0 0 0 0,0 1 0 0 0,0-1 0 0 0,0 0 1 0 0,7 10 1222 0 0,22 42-313 0 0,-12-21 406 0 0,41 56 0 0 0,-58-87-1418 0 0,0 0 0 0 0,0 0 1 0 0,0 0-1 0 0,0 0 0 0 0,0 0 0 0 0,0 0 0 0 0,0 0 1 0 0,0 0-1 0 0,0 0 0 0 0,0 0 0 0 0,0 0 1 0 0,0 0-1 0 0,0 0 0 0 0,0 0 0 0 0,0 0 1 0 0,0 0-1 0 0,0 0 0 0 0,0 0 0 0 0,0-1 0 0 0,0 1 1 0 0,0 0-1 0 0,0 0 0 0 0,1 0 0 0 0,-1 0 1 0 0,0 0-1 0 0,0 0 0 0 0,0 0 0 0 0,0 0 0 0 0,0 0 1 0 0,0 0-1 0 0,0 0 0 0 0,0 0 0 0 0,0 0 1 0 0,0 0-1 0 0,0 0 0 0 0,0 0 0 0 0,0 0 0 0 0,0 0 1 0 0,0 0-1 0 0,0 0 0 0 0,1 1 0 0 0,-5-13-167 0 0,-6-15-131 0 0,1 3-946 0 0,-7-25 1 0 0,13 38-1046 0 0,1-1 0 0 0,-2-15 0 0 0,4 27 2252 0 0,0 0 0 0 0,0 0 0 0 0,0 0 0 0 0,0 0 0 0 0,0 0 0 0 0,0 0 0 0 0,0 0 0 0 0,1 0 0 0 0,-1 0 0 0 0,0 0 0 0 0,0 0-1 0 0,0 0 1 0 0,0 0 0 0 0,0 0 0 0 0,0 1 0 0 0,0-1 0 0 0,0 0 0 0 0,0 0 0 0 0,0 0 0 0 0,0 0 0 0 0,0 0 0 0 0,0 0 0 0 0,0 0 0 0 0,0 0-1 0 0,0 0 1 0 0,1 0 0 0 0,-1 0 0 0 0,0 0 0 0 0,0-1 0 0 0,0 1 0 0 0,0 0 0 0 0,0 0 0 0 0,0 0 0 0 0,0 0 0 0 0,0 0 0 0 0,0 0-1 0 0,0 0 1 0 0,0 0 0 0 0,0 0 0 0 0,0 0 0 0 0,0 0 0 0 0,0 0 0 0 0,0 0 0 0 0,0 0 0 0 0,0 0 0 0 0,0 0 0 0 0,1 0 0 0 0,-1 0-1 0 0,0 0 1 0 0,0 0 0 0 0,0 0 0 0 0,0 0 0 0 0,0-1 0 0 0,0 1 0 0 0,0 0 0 0 0,0 0 0 0 0,0 0 0 0 0,0 0 0 0 0,0 0 0 0 0,0 0-1 0 0,0 0 1 0 0,0 0 0 0 0,0 0 0 0 0,0 0 0 0 0,6 7-347 0 0,5 10 1532 0 0,94 152 8173 0 0,-122-222-11864 0 0,6 27 1167 0 0,5 13 336 0 0,1 1 1 0 0,1 0-1 0 0,-4-18 1 0 0,8 30 1056 0 0,0 0 0 0 0,0 0 0 0 0,0 0 1 0 0,0 0-1 0 0,0 0 0 0 0,0 0 0 0 0,0 0 0 0 0,0 0 1 0 0,0 0-1 0 0,0 0 0 0 0,0 0 0 0 0,0 0 1 0 0,0 0-1 0 0,0 0 0 0 0,0 0 0 0 0,1 0 0 0 0,-1 0 1 0 0,0 0-1 0 0,0 0 0 0 0,0 0 0 0 0,0 0 1 0 0,0 0-1 0 0,0 0 0 0 0,0 0 0 0 0,0 0 1 0 0,0 0-1 0 0,0 0 0 0 0,0 0 0 0 0,0 0 0 0 0,0 0 1 0 0,0 0-1 0 0,0 0 0 0 0,0 0 0 0 0,0 0 1 0 0,1 0-1 0 0,-1 0 0 0 0,0 0 0 0 0,0 0 0 0 0,0 0 1 0 0,0 0-1 0 0,0 0 0 0 0,0 0 0 0 0,0 0 1 0 0,0 0-1 0 0,0 0 0 0 0,0 0 0 0 0,0 0 1 0 0,0 0-1 0 0,0 0 0 0 0,0 0 0 0 0,0 0 0 0 0,0 0 1 0 0,0 0-1 0 0,0 0 0 0 0,0 0 0 0 0,0-1 1 0 0,0 1-1 0 0,0 0 0 0 0,0 0 0 0 0,7 8 1580 0 0,7 10 976 0 0,43 67 819 0 0,-35-51-2692 0 0,-18-29-499 0 0,-2-5-135 0 0,-4-11-214 0 0,-7-17-367 0 0,-1 7-119 0 0,5 11 46 0 0,1 0-1 0 0,0 0 1 0 0,0-1-1 0 0,1 0 1 0 0,-2-13 0 0 0,5 24 553 0 0,0 1 1 0 0,0-1 0 0 0,0 0 0 0 0,0 0 0 0 0,0 0-1 0 0,0 0 1 0 0,0 0 0 0 0,0 0 0 0 0,0 0 0 0 0,0 0-1 0 0,0 0 1 0 0,0 0 0 0 0,0 0 0 0 0,0 0-1 0 0,0 0 1 0 0,0 0 0 0 0,0 0 0 0 0,0 0 0 0 0,0 0-1 0 0,0 0 1 0 0,0 0 0 0 0,0 0 0 0 0,0 0 0 0 0,0 0-1 0 0,0 0 1 0 0,0 0 0 0 0,1 0 0 0 0,-1 0-1 0 0,0 0 1 0 0,0 0 0 0 0,0 0 0 0 0,0 0 0 0 0,0 0-1 0 0,0 0 1 0 0,0 0 0 0 0,0 0 0 0 0,0 0 0 0 0,0 0-1 0 0,0 0 1 0 0,0 0 0 0 0,0 0 0 0 0,0 0 0 0 0,0 0-1 0 0,0 0 1 0 0,0 0 0 0 0,0 0 0 0 0,1 0-1 0 0,-1 0 1 0 0,0 0 0 0 0,0 0 0 0 0,0 0 0 0 0,0 0-1 0 0,0 0 1 0 0,0 0 0 0 0,0 0 0 0 0,0 0 0 0 0,0 0-1 0 0,0 0 1 0 0,0 0 0 0 0,0 0 0 0 0,0 0-1 0 0,0-1 1 0 0,0 1 0 0 0,0 0 0 0 0,0 0 0 0 0,0 0-1 0 0,0 0 1 0 0,6 6 255 0 0,5 8 1144 0 0,82 123 910 0 0,-90-134-2492 0 0,-2-7-364 0 0,-6-16-1218 0 0,-11-26-1165 0 0,15 43 2795 0 0,-6-18-965 0 0,5 7 5173 0 0,5 17-682 0 0,9 9-1984 0 0,54 78-143 0 0,-41-54-990 0 0,-23-34-334 0 0,-2-4-164 0 0,-5-13-587 0 0,-12-26-982 0 0,13 34 1577 0 0,-17-37-1696 0 0,12 28 1042 0 0,-11-31 1 0 0,45 75 5926 0 0,65 112-2895 0 0,-87-137-2235 0 0,-4-10-151 0 0,-6-10-306 0 0,-50-116-1347 0 0,55 126 3119 0 0,4 7-426 0 0,7 9-119 0 0,13 18-324 0 0,13 27 7 0 0,8 10-330 0 0,-41-64-356 0 0,-3-6 69 0 0,-6-14-130 0 0,3 8 161 0 0,2 4-65 0 0,-1 0-62 0 0,1 1 0 0 0,1-1-1 0 0,-2-13 1 0 0,20 38 1894 0 0,15 25-1076 0 0,-22-28-209 0 0,23 26 0 0 0,-47-76-1839 0 0,13 33 1442 0 0,-10-26-643 0 0,10 27 780 0 0,1 1 1 0 0,-1-1 0 0 0,1 1 0 0 0,0-1 0 0 0,-1 0 0 0 0,1 1 0 0 0,0-1 0 0 0,0 0 0 0 0,0 1-1 0 0,0-1 1 0 0,0 1 0 0 0,1-1 0 0 0,-1 0 0 0 0,1 1 0 0 0,0-3 0 0 0,-1 4 25 0 0,0 0 0 0 0,0 0 0 0 0,0 0 0 0 0,0 0 0 0 0,0 0 0 0 0,0 0 0 0 0,0-1 0 0 0,0 1 0 0 0,1 0 0 0 0,-1 0 0 0 0,0 0 0 0 0,0 0 0 0 0,0 0 0 0 0,0 0 0 0 0,0 0 1 0 0,0 0-1 0 0,1 0 0 0 0,-1 0 0 0 0,0 0 0 0 0,0 0 0 0 0,0 0 0 0 0,0 0 0 0 0,0 0 0 0 0,0 0 0 0 0,1 0 0 0 0,-1 0 0 0 0,0 0 0 0 0,0 0 0 0 0,0 0 0 0 0,0 0 0 0 0,0 0 0 0 0,0 0 0 0 0,1 0 0 0 0,-1 0 0 0 0,0 0 1 0 0,0 0-1 0 0,0 0 0 0 0,0 0 0 0 0,0 0 0 0 0,0 0 0 0 0,0 0 0 0 0,0 1 0 0 0,1-1 0 0 0,-1 0 11 0 0,0 0 0 0 0,0 0 1 0 0,0 0-1 0 0,0 0 0 0 0,0 0 0 0 0,0 0 1 0 0,0 0-1 0 0,1 1 0 0 0,-1-1 0 0 0,0 0 0 0 0,0 0 1 0 0,0 0-1 0 0,0 0 0 0 0,0 0 0 0 0,0 0 0 0 0,1 0 1 0 0,-1 0-1 0 0,0 0 0 0 0,0 0 0 0 0,0 0 1 0 0,0 0-1 0 0,0 0 0 0 0,0 0 0 0 0,1 0 0 0 0,-1 0 1 0 0,0 0-1 0 0,0 0 0 0 0,0 0 0 0 0,0 0 1 0 0,0 0-1 0 0,0 0 0 0 0,1-1 0 0 0,-1 1 0 0 0,0 0 1 0 0,0 0-1 0 0,0 0 0 0 0,0 0 0 0 0,0 0 0 0 0,0 0 1 0 0,0 0-1 0 0,0 0 0 0 0,0 0 0 0 0,1-1 1 0 0,-1 1-1 0 0,0 0 0 0 0,0 0 0 0 0,0 0 0 0 0,0 0 1 0 0,0 0-1 0 0,0 0 0 0 0,0-1 0 0 0,0 1 1 0 0,0 0-1 0 0,0 0 0 0 0,0 0 0 0 0,0 0 0 0 0,0 0 1 0 0,0 0-1 0 0,0-1 0 0 0,0 1 0 0 0,0 0 1 0 0,0 0-1 0 0,0 0 0 0 0,0 0-19 0 0,0 0 0 0 0,0-1 1 0 0,0 1-1 0 0,0 0 0 0 0,0 0 0 0 0,0 0 1 0 0,0 0-1 0 0,0 0 0 0 0,0 0 0 0 0,0-1 1 0 0,0 1-1 0 0,0 0 0 0 0,0 0 0 0 0,0 0 1 0 0,0 0-1 0 0,0 0 0 0 0,0 0 0 0 0,0 0 1 0 0,0-1-1 0 0,1 1 0 0 0,-1 0 0 0 0,0 0 1 0 0,0 0-1 0 0,0 0 0 0 0,0 0 0 0 0,0 0 1 0 0,0 0-1 0 0,0 0 0 0 0,1 0 0 0 0,-1 0 1 0 0,0 0-1 0 0,0 0 0 0 0,0 0 0 0 0,0 0 1 0 0,0 0-1 0 0,0 0 0 0 0,1 0 0 0 0,-1 0 1 0 0,0 0-1 0 0,0 0 0 0 0,0 0 0 0 0,0 0 1 0 0,0 0-1 0 0,0 0 0 0 0,0 0 0 0 0,1 0 1 0 0,-1 0-1 0 0,0 0 0 0 0,0 0 0 0 0,0 0 1 0 0,0 0-1 0 0,0 0 0 0 0,0 0 0 0 0,0 0 1 0 0,1 0-1 0 0,-1 1 0 0 0,6 5-309 0 0,-4-4 71 0 0,-2-2-88 0 0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6193 0 0,'2'3'7502'0'0,"5"9"-3897"0"0,-3-5-1594 0 0,-1-4-1225 0 0,10 21 3401 0 0,-8-8-5217 0 0,-5-16 870 0 0,0 1-1 0 0,0-1 0 0 0,0 0 1 0 0,0 0-1 0 0,0 0 0 0 0,0 0 1 0 0,0 0-1 0 0,0 0 0 0 0,0 0 0 0 0,-1 0 1 0 0,1 0-1 0 0,0 0 0 0 0,0 0 1 0 0,0 0-1 0 0,0 0 0 0 0,-1 0 1 0 0,1 0-1 0 0,0 0 0 0 0,0 0 1 0 0,0 0-1 0 0,0 0 0 0 0,0 0 1 0 0,-1 0-1 0 0,1 0 0 0 0,0 0 1 0 0,0 0-1 0 0,0 0 0 0 0,0 0 0 0 0,-1 0 1 0 0,1 0-1 0 0,0 0 0 0 0,0 0 1 0 0,0 0-1 0 0,0 0 0 0 0,-1 0 1 0 0,1 0-1 0 0,0 0 0 0 0,0 0 1 0 0,0 0-1 0 0,0 0 0 0 0,0 0 1 0 0,-1 0-1 0 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9 491 888 0 0,'0'0'67'0'0,"-1"0"58"0"0,-6 0 10950 0 0,2-2-3328 0 0,0-1-3610 0 0,1-4-3891 0 0,-3-2-139 0 0,1 0 0 0 0,0-2 1 0 0,2 1-1 0 0,-1-1 0 0 0,2 0 0 0 0,-1 0 0 0 0,1 0 0 0 0,0 0 0 0 0,1-1 0 0 0,0-12 0 0 0,0 1 106 0 0,2 1-1 0 0,1-1 1 0 0,1 0-1 0 0,5-25 1 0 0,-1 23-89 0 0,0 1 1 0 0,1 0 0 0 0,1 1 0 0 0,19-37 0 0 0,-24 54-44 0 0,1 0 0 0 0,0 0 0 0 0,0 1-1 0 0,1-1 1 0 0,0 1 0 0 0,-1 0 0 0 0,1 0 0 0 0,7-4 0 0 0,-12 9 66 0 0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1864 0 0,'0'0'0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59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432 0 0,'14'9'10681'0'0,"14"-2"-6324"0"0,-7-1-3105 0 0,-12-2-330 0 0,1-2-1 0 0,17 3 1 0 0,-15-4-139 0 0,-2 1 0 0 0,16 5 1 0 0,142 47 2816 0 0,-5-8-2442 0 0,-123-34-1090 0 0,103 29 11 0 0,-61-23 93 0 0,116 23 181 0 0,-38-8-105 0 0,-101-20-218 0 0,169 43 215 0 0,34 21-181 0 0,-140-51-64 0 0,-95-20 0 0 0,49 9 35 0 0,69 14 58 0 0,-93-18-66 0 0,57 19 0 0 0,-32-8-9 0 0,25 9-135 0 0,21 6-38 0 0,-54-21 68 0 0,69 19-162 0 0,-88-21 196 0 0,45 15-86 0 0,-17-6 139 0 0,40 1-223 0 0,-114-23 222 0 0,29 3 20 0 0,-16-2-1 0 0,17 4 1 0 0,-24-4-19 0 0,-1-1 0 0 0,2 0 0 0 0,-2 0 0 0 0,2 0 0 0 0,-1-2 0 0 0,15-1 0 0 0,-13 0 14 0 0,8-1 107 0 0,32-10 0 0 0,14-7 359 0 0,-63 19-483 0 0,-2 0 0 0 0,2-1-1 0 0,-1 1 1 0 0,0 0 0 0 0,0 0 0 0 0,0 0 0 0 0,-1-1-1 0 0,1 0 1 0 0,0 1 0 0 0,0-1 0 0 0,-1 0 0 0 0,3-1 0 0 0,-3 0-2 0 0,2 1 1 0 0,0-1-1 0 0,-2 1 1 0 0,2 0 0 0 0,-1 0-1 0 0,6-3 1 0 0,3 0-19 0 0,-8 0-764 0 0,-5 4-1193 0 0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 0 432 0 0,'0'1'299'0'0,"1"6"81"0"0,-1-7-379 0 0,0 0-1 0 0,-1 0 0 0 0,1 0 0 0 0,0 0 1 0 0,0 0-1 0 0,0 0 0 0 0,0 0 0 0 0,0 0 0 0 0,0 0 1 0 0,0 0-1 0 0,0 0 0 0 0,0 0 0 0 0,0-1 1 0 0,0 1-1 0 0,0 0 0 0 0,-1 0 0 0 0,1 0 0 0 0,0 0 1 0 0,0 0-1 0 0,0 0 0 0 0,0 0 0 0 0,0 0 1 0 0,0 0-1 0 0,0 0 0 0 0,0 0 0 0 0,0 0 0 0 0,0 0 1 0 0,-1 1-1 0 0,1-1 0 0 0,0 0 0 0 0,0 0 1 0 0,0 0-1 0 0,0 0 0 0 0,0 0 0 0 0,0 0 0 0 0,0 0 1 0 0,0 0-1 0 0,0 0 0 0 0,0 0 0 0 0,0 0 1 0 0,0 0-1 0 0,-1 0 0 0 0,1 0 0 0 0,0 0 0 0 0,0 0 1 0 0,0 1-1 0 0,0-1 0 0 0,0 0 0 0 0,0 0 0 0 0,0 0 1 0 0,0 0-1 0 0,0 0 0 0 0,0 0 0 0 0,0 0 1 0 0,0 0-1 0 0,0 0 0 0 0,0 0 0 0 0,0 0 0 0 0,0 0 1 0 0,0 0-1 0 0,0 0 0 0 0,0 0 0 0 0,0 0 1 0 0,0 0-1 0 0,0 0 0 0 0,0 0 0 0 0,0 0 0 0 0,0 0 221 0 0,-12 0 23189 0 0,22 4-23242 0 0,2 0 1 0 0,0 0-1 0 0,11 2 0 0 0,-14-5-9 0 0,-4-1-399 0 0,-5-1-2994 0 0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 1840 0 0,'3'-3'14520'0'0,"-3"3"-14052"0"0,10 0 4146 0 0,11 3-5822 0 0,-18-2 2755 0 0,11 3-778 0 0,-2-2 241 0 0,0 1 0 0 0,22 0 0 0 0,-36-3-3851 0 0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448 2513 0 0,'-7'0'3151'0'0,"11"0"3781"0"0,7 0 1048 0 0,-6 1-5892 0 0,-3-1-2107 0 0,0 0 0 0 0,1 0 1 0 0,-1 0-1 0 0,0 0 0 0 0,1-1 1 0 0,-1 1-1 0 0,0-1 0 0 0,1 1 1 0 0,-2 0-1 0 0,4-3 0 0 0,24-11 703 0 0,-7 2-861 0 0,-15 9 185 0 0,-1-2 0 0 0,0 1 0 0 0,0 0 1 0 0,-1-1-1 0 0,8-5 0 0 0,-10 6 2 0 0,0-1 201 0 0,1 1 1 0 0,-1-1 0 0 0,0 0 0 0 0,-1 0 0 0 0,1-1 0 0 0,0 1 0 0 0,2-11-1 0 0,-2 6-68 0 0,0-2-159 0 0,-1 1-1 0 0,0 0 1 0 0,-1-1-1 0 0,0 1 1 0 0,0-1-1 0 0,-3-17 1 0 0,1 17 11 0 0,-1-10 193 0 0,-1-2-1 0 0,-1 2 1 0 0,-1 0-1 0 0,-13-34 1 0 0,2 17-34 0 0,6 17 307 0 0,10 22-464 0 0,0-1 1 0 0,-1 1 0 0 0,1 0 0 0 0,0-1 0 0 0,0 1 0 0 0,-1 0 0 0 0,1 0 0 0 0,0 0-1 0 0,0 0 1 0 0,-1-1 0 0 0,1 1 0 0 0,0 0 0 0 0,-1 0 0 0 0,1 0 0 0 0,0-1 0 0 0,-1 1-1 0 0,1 0 1 0 0,-1 0 0 0 0,1 0 0 0 0,0 0 0 0 0,0 0 0 0 0,0 0 0 0 0,0 0 0 0 0,-1 0-1 0 0,1-1 1 0 0,-1 1 0 0 0,1 1 0 0 0,0-1 0 0 0,-1 0 0 0 0,1 0 0 0 0,-1 0-1 0 0,-2 0-227 0 0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9 8498 0 0,'2'-3'13201'0'0,"-1"1"-13866"0"0,10 1 1677 0 0,0 0-1 0 0,0 0 1 0 0,21 1 0 0 0,-15 0-528 0 0,-4 0-853 0 0,23 3-1 0 0,-32-3 77 0 0,-1 1 0 0 0,2 0 0 0 0,-2 0-1 0 0,1 1 1 0 0,0-1 0 0 0,-1 0 0 0 0,1 2-1 0 0,-1-1 1 0 0,1-1 0 0 0,3 5 0 0 0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0 1 4401 0 0,'-3'1'2089'0'0,"0"0"0"0"0,0 0 0 0 0,1 0 1 0 0,0 1-1 0 0,-1-1 0 0 0,-3 4 0 0 0,3-2-1159 0 0,1-2 0 0 0,0 2 0 0 0,-1 0-1 0 0,1-1 1 0 0,-2 4 0 0 0,1 2-508 0 0,-2 0 1 0 0,2 0-1 0 0,-4 14 1 0 0,3-10-417 0 0,1 0 0 0 0,1 0 0 0 0,0 0 1 0 0,1 1-1 0 0,0-1 0 0 0,1 0 0 0 0,3 25 0 0 0,-3-29-66 0 0,1-1-1 0 0,1 1 1 0 0,1-1-1 0 0,-2 0 1 0 0,2 1-1 0 0,0-1 0 0 0,1 0 1 0 0,-1 0-1 0 0,1-1 1 0 0,0 1-1 0 0,0-1 0 0 0,1 0 1 0 0,0 0-1 0 0,6 5 1 0 0,0-4-2861 0 0,-8-6 1451 0 0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22 8698 0 0,'-1'-1'224'0'0,"1"1"0"0"0,0-1 0 0 0,-1 0 0 0 0,1 1 0 0 0,0-1 0 0 0,0 0 0 0 0,0 1 0 0 0,-1 0 0 0 0,1-1 0 0 0,0 0 0 0 0,0 0 0 0 0,0 1 0 0 0,0-1 1 0 0,0 0-1 0 0,0 1 0 0 0,1-1 0 0 0,-1 0 0 0 0,0 1 0 0 0,0 0 0 0 0,1-2 0 0 0,0-3-3732 0 0,0 3 334 0 0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16331 0 0,'1'0'353'0'0,"-1"0"79"0"0,0 0 576 0 0,1 0-1008 0 0,-1 0 0 0 0,1-1 200 0 0,-1 1 24 0 0,1 0 8 0 0,1 0 0 0 0,0 0-1208 0 0,-1-1-240 0 0,0 1-57 0 0,1-1-7 0 0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6 10138 0 0,'0'0'224'0'0,"0"-1"40"0"0,-1 1 16 0 0,1 0 8 0 0,0-1-288 0 0,0 1 0 0 0,0 0 0 0 0,-1 0-688 0 0,1-1-192 0 0,0 0-40 0 0,0 0-8 0 0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 16788 0 0,'0'-1'368'0'0,"0"1"80"0"0,0 0 8 0 0,0-1 24 0 0,0 1-384 0 0,1 0-96 0 0,-1 0 0 0 0,1 0 320 0 0,0 0 40 0 0,-1 1 16 0 0,1-1 0 0 0,1 0-816 0 0,-1 0-160 0 0,0 1-32 0 0,0-1-8 0 0,0 0 496 0 0,1 0 144 0 0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3 16876 0 0,'-2'0'4823'0'0,"2"0"-4677"0"0,2-3-2199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59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6193 0 0,'3'3'14133'0'0,"9"5"-10195"0"0,-9-4-3742 0 0,1-1 1 0 0,-1 1 0 0 0,0-1-1 0 0,1 0 1 0 0,-1 0 0 0 0,2 0-1 0 0,-2-1 1 0 0,1 0 0 0 0,8 3-1 0 0,-4-1-50 0 0,1-1 0 0 0,-1 0 0 0 0,19 2 0 0 0,-16-3-146 0 0,1-1 0 0 0,0 0 0 0 0,0-1 0 0 0,0 0 0 0 0,-1-1 0 0 0,1 0 0 0 0,-1 0 0 0 0,1-2 0 0 0,13-4 0 0 0,5-4-151 0 0,-23 7-477 0 0,0 1 1 0 0,1 0 0 0 0,0 1 0 0 0,8-2-1 0 0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1 437 2361 0 0,'0'1'197'0'0,"0"-1"1"0"0,0 0 0 0 0,0 0 0 0 0,0 1 0 0 0,0-1 0 0 0,0 0 0 0 0,0 0 0 0 0,0 1 0 0 0,0-1 0 0 0,0 0 0 0 0,0 0 0 0 0,0 1 0 0 0,0-1 0 0 0,0 0-1 0 0,0 0 1 0 0,0 0 0 0 0,0 0 0 0 0,-1 0 0 0 0,1 0 0 0 0,0 1 0 0 0,0-1 0 0 0,0 0 0 0 0,0 0 0 0 0,0 0 0 0 0,0 1 0 0 0,0-1 0 0 0,0 0 0 0 0,0 0-1 0 0,-1 0 1 0 0,1 0 0 0 0,0 0 0 0 0,0 1 0 0 0,-1-1 0 0 0,1 0 0 0 0,0 0 0 0 0,0 0 0 0 0,-1 0 0 0 0,1 0 0 0 0,0 0 0 0 0,0 0 0 0 0,-1 0 0 0 0,1 0-1 0 0,0 0 1 0 0,0 0 0 0 0,-1 0 0 0 0,1 0 0 0 0,0 0 0 0 0,0 0 0 0 0,-1 0 0 0 0,1 0 0 0 0,0 0 0 0 0,0-1 0 0 0,0 1 0 0 0,0 0 0 0 0,0 0 0 0 0,0 0 0 0 0,-1 0-1 0 0,1 0 1 0 0,0-1 0 0 0,0 1 0 0 0,0 0 0 0 0,-1 0 0 0 0,1-1 0 0 0,-9-5 6218 0 0,7 1-5290 0 0,-5-9-303 0 0,1-1 1 0 0,1-1-1 0 0,-8-28 0 0 0,10 23-1017 0 0,0 0 0 0 0,1 0 0 0 0,1-1 0 0 0,3-36 0 0 0,-1 37 41 0 0,3 0 0 0 0,9-34-1 0 0,-9 43 95 0 0,0 1 0 0 0,1-1 1 0 0,0 1-1 0 0,0 0 0 0 0,1 1 0 0 0,9-12 0 0 0,-14 20-359 0 0,0 1 0 0 0,-1 1 0 0 0,0-1 0 0 0,1 1-1 0 0,0-1 1 0 0,0 0 0 0 0,0 0 0 0 0,0 0 0 0 0,0 1 0 0 0,0-1-1 0 0,0 1 1 0 0,0 0 0 0 0,0-1 0 0 0,0 1 0 0 0,0-1 0 0 0,0 1-1 0 0,0 0 1 0 0,0 0 0 0 0,2-1 0 0 0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352 0 0,'3'1'8263'0'0,"13"2"-3416"0"0,-4 2-3622 0 0,88 25 8507 0 0,-66-21-12056 0 0,-1 0-5905 0 0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7474 0 0,'16'1'2383'0'0,"1"1"0"0"0,-2 0 1 0 0,23 8-1 0 0,-21-6-245 0 0,34 5 1905 0 0,-6-1-3945 0 0,-16 1-8880 0 0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7258 0 0,'19'3'9772'0'0,"11"6"-5694"0"0,-13-4-2509 0 0,70 18 854 0 0,-49-16-11461 0 0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6793 0 0,'33'7'8301'0'0,"-4"-2"-4972"0"0,18 9-140 0 0,-3-1-2029 0 0,0-2-3706 0 0,-39-10 1268 0 0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7858 0 0,'10'0'3667'0'0,"1"1"1"0"0,10 2 0 0 0,41 13 703 0 0,-7-2-3501 0 0,2-1-4828 0 0,-45-9 751 0 0,-8-3-3040 0 0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6793 0 0,'34'8'3881'0'0,"79"20"5170"0"0,-38-8-12722 0 0,-68-17 1932 0 0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9674 0 0,'31'3'9728'0'0,"16"11"-5327"0"0,-36-10-3809 0 0,108 25 562 0 0,-73-19-6467 0 0,-40-9-2152 0 0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7858 0 0,'16'4'1914'0'0,"115"33"10572"0"0,-44-18-10388 0 0,-55-13-4064 0 0,-27-6 661 0 0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7258 0 0,'62'18'8164'0'0,"-30"-11"-8170"0"0,0-1-3840 0 0,-23-4 2374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054 888 0 0,'0'-3'16633'0'0,"4"1"-10529"0"0,0 0-7852 0 0,4 0 2023 0 0,-2-2-1 0 0,2 1 1 0 0,-1-1 0 0 0,1 0 0 0 0,6-5 0 0 0,10-8 300 0 0,96-56 607 0 0,-23 14 3 0 0,-65 40-1186 0 0,187-110 564 0 0,-179 106-563 0 0,100-56 0 0 0,-65 37 229 0 0,-22 12-178 0 0,69-44-115 0 0,-77 47 64 0 0,-28 17 0 0 0,1-1 0 0 0,20-7 0 0 0,-21 10 0 0 0,1-1 0 0 0,17-13 0 0 0,17-8 0 0 0,55-32 0 0 0,21-15 0 0 0,11 2-72 0 0,-113 61 72 0 0,23-19 0 0 0,4-1 0 0 0,9-3 0 0 0,-39 28-4374 0 0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3 888 0 0,'-6'-3'1703'0'0,"6"3"-1773"0"0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0 1352 0 0,'3'2'1088'0'0,"-1"-1"-1"0"0,2 1 1 0 0,-2-1-1 0 0,2 0 0 0 0,-1 0 1 0 0,0 0-1 0 0,0 0 1 0 0,6 0-1 0 0,-3 0 1289 0 0,26 6 4019 0 0,11 2-2748 0 0,-13-2-3093 0 0,-10-3-130 0 0,25 4 1 0 0,35-7 807 0 0,-47-1-906 0 0,-22-1-303 0 0,-1 0 0 0 0,0 0 0 0 0,1-2 1 0 0,-1 0-1 0 0,13-3 0 0 0,8-4 14 0 0,-10 3-37 0 0,38-16 0 0 0,-58 22 51 0 0,0 0 1 0 0,1 0-1 0 0,0 0 1 0 0,-1 0 0 0 0,0 0-1 0 0,0 0 1 0 0,1-1-1 0 0,-1 1 1 0 0,0 0-1 0 0,1-3 1 0 0,-1 3-139 0 0,-1 1 1 0 0,0 0-1 0 0,0 0 0 0 0,1-1 1 0 0,-1 0-1 0 0,0 1 0 0 0,0-1 1 0 0,0 1-1 0 0,1-1 0 0 0,-1 0 1 0 0,0 1-1 0 0,0-1 0 0 0,0 0 1 0 0,0 1-1 0 0,0 0 0 0 0,0-1 1 0 0,0 1-1 0 0,-1-1 0 0 0,1 0 1 0 0,-6-5-5439 0 0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3369 0 0,'9'1'12046'0'0,"-1"1"-5319"0"0,3 1-3564 0 0,6 2-3058 0 0,-4 0 1167 0 0,-9-4-1673 0 0,5 2 300 0 0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5 432 0 0,'0'-8'6'0'0,"-1"1"5358"0"0,0 17 6148 0 0,4 123-5389 0 0,-1-4-6150 0 0,-1-89 1431 0 0,0-20-1644 0 0,-1 0-3379 0 0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1 2937 0 0,'-2'18'9706'0'0,"0"28"-2848"0"0,0-1-3898 0 0,1 93-2080 0 0,9 101 1554 0 0,-7-234-2795 0 0,-1 13 982 0 0,0-18-946 0 0,0 0-1 0 0,0 1 0 0 0,0-1 0 0 0,0 0 0 0 0,0 0 1 0 0,0 1-1 0 0,0-1 0 0 0,0 1 0 0 0,0-1 1 0 0,0 0-1 0 0,0 1 0 0 0,0-1 0 0 0,0 1 0 0 0,-1-1 1 0 0,1 0-1 0 0,0 1 0 0 0,0-1 0 0 0,-1 1 1 0 0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550 1352 0 0,'0'3'15092'0'0,"0"-11"-11419"0"0,1-16-3458 0 0,-5-99 2388 0 0,5 0-4223 0 0,-2-68-6572 0 0,0 173 3205 0 0,0-28 6413 0 0,4 28-3705 0 0,-3 16 1925 0 0,0 2-38 0 0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4897 0 0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888 0 0,'0'0'67'0'0,"2"53"15295"0"0,4 26-7888 0 0,-4-43-6382 0 0,10 168-1644 0 0,-7 2-774 0 0,-5-200-301 0 0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7858 0 0,'0'0'817'0'0,"3"6"8429"0"0,5-2-5101 0 0,9 2-1832 0 0,-14-6-1637 0 0,25 7-391 0 0,-27-7-1044 0 0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1 11 5617 0 0,'-9'-1'7086'0'0,"-1"1"-217"0"0,10 1-6582 0 0,-1-1 0 0 0,0 1 0 0 0,0-1-1 0 0,0 1 1 0 0,0 0 0 0 0,0-1 0 0 0,1 1 0 0 0,-1 0 0 0 0,0-1 0 0 0,1 1-1 0 0,-2 1 1 0 0,0 1 148 0 0,1-1 0 0 0,-1 1-1 0 0,1-1 1 0 0,-1 2 0 0 0,0 4 0 0 0,1-8-364 0 0,1 1 0 0 0,0 0 1 0 0,0 0-1 0 0,-1 0 0 0 0,1 1 1 0 0,0-2-1 0 0,0 1 1 0 0,0 0-1 0 0,0 0 0 0 0,0 0 1 0 0,1 1-1 0 0,-1-2-58 0 0,0 0 0 0 0,0 0 1 0 0,1 1-1 0 0,-1-1 0 0 0,0 0 0 0 0,0 1 0 0 0,1-1 1 0 0,-1 0-1 0 0,0 0 0 0 0,0 1 0 0 0,0-1 0 0 0,0 0 1 0 0,0 0-1 0 0,1 1 0 0 0,-1-1 0 0 0,0 0 1 0 0,1 0-1 0 0,-1 0 0 0 0,1 0 0 0 0,-1 1 0 0 0,0-1 1 0 0,1 0-1 0 0,-1 0 0 0 0,0 0 0 0 0,1 0 0 0 0,-1 0 1 0 0,1 0-1 0 0,-1 0 0 0 0,0 0 0 0 0,0 0 0 0 0,2-1-12 0 0,-1 1-1 0 0,1-1 1 0 0,-1 1 0 0 0,0-1-1 0 0,0 0 1 0 0,0 0-1 0 0,1 1 1 0 0,-1-1-1 0 0,0 0 1 0 0,-1 0-1 0 0,2 0 1 0 0,-1 0-1 0 0,0 0 1 0 0,0 1-1 0 0,0-2 1 0 0,-1 1-1 0 0,0 0 1 0 0,1-1-1 0 0,0 2 1 0 0,-1-1-1 0 0,1-1 1 0 0,0-2 0 0 0,0 3-75 0 0,0 0 0 0 0,-1-1 1 0 0,0 1-1 0 0,0 0 1 0 0,0-1-1 0 0,1 1 0 0 0,-1-1 1 0 0,0 1-1 0 0,0 0 1 0 0,0-1-1 0 0,0 1 0 0 0,0-1 1 0 0,0 1-1 0 0,-1 0 1 0 0,1-1-1 0 0,0 1 0 0 0,0-1 1 0 0,0 1-1 0 0,-1 0 1 0 0,0-1-1 0 0,-1-1 0 0 0,2 3 2 0 0,-1 0 0 0 0,1 0 0 0 0,-1-1 0 0 0,1 1 0 0 0,0 0 0 0 0,0 0 0 0 0,-1 0 0 0 0,1 0 0 0 0,-1 0 0 0 0,1-1 0 0 0,0 1 0 0 0,-1 0 0 0 0,1 0 0 0 0,-1 0 0 0 0,1 0 0 0 0,-1 1 0 0 0,1-1 0 0 0,-1 0 0 0 0,1 0 0 0 0,0 0 0 0 0,0 0 0 0 0,-1 0 0 0 0,1 1 0 0 0,0-1 0 0 0,-1 0 0 0 0,1 0 0 0 0,-1 1 0 0 0,1-1 0 0 0,0 0 0 0 0,-1 0 0 0 0,1 0 0 0 0,0 0 0 0 0,-1 1 0 0 0,1-1 0 0 0,0 0 0 0 0,-1 1 0 0 0,1-1 0 0 0,0 1 0 0 0,0-1 0 0 0,0 1 0 0 0,-2 2-916 0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1352 0 0,'0'0'100'0'0,"13"11"10432"0"0,10-1-3024 0 0,13-1-5655 0 0,-23-6-635 0 0,24 10 1 0 0,-27-10-1113 0 0,0 1 0 0 0,1-1-1 0 0,14 3 1 0 0,-3-2-34 0 0,23 7 1 0 0,8 2 1709 0 0,-42-12-1757 0 0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7 47 2881 0 0,'0'-13'3811'0'0,"0"12"-3093"0"0,1-1-1 0 0,-1 1 1 0 0,0-1-1 0 0,0 1 1 0 0,0-1-1 0 0,0 1 1 0 0,0-1-1 0 0,0 1 1 0 0,-1 0-1 0 0,1-1 1 0 0,-1 0-1 0 0,1 2 0 0 0,-1-2 1 0 0,1 0-1 0 0,-2-1 1 0 0,2 3-521 0 0,0 0-1 0 0,-1 0 1 0 0,1 0-1 0 0,0 0 1 0 0,0 0 0 0 0,0 0-1 0 0,0 0 1 0 0,0 0 0 0 0,0 0-1 0 0,-1 0 1 0 0,1 0-1 0 0,0-1 1 0 0,0 1 0 0 0,-1 0-1 0 0,1 0 1 0 0,0 0 0 0 0,-1 0-1 0 0,1 0 1 0 0,0 0 0 0 0,0 0-1 0 0,-1 1 1 0 0,1-1-1 0 0,0 0 1 0 0,0 0 0 0 0,-1 0-1 0 0,1 0 1 0 0,0 0 0 0 0,0 0-1 0 0,-1 0 1 0 0,-6 7 1921 0 0,0 10-1185 0 0,7-16-862 0 0,-1 1-1 0 0,1 0 1 0 0,0 0 0 0 0,-1-1 0 0 0,1 0-1 0 0,0 1 1 0 0,1 0 0 0 0,-1-1 0 0 0,1 5-1 0 0,-1-6-63 0 0,0 0 0 0 0,0 0 0 0 0,0 0 0 0 0,0 0 0 0 0,0 0 0 0 0,0 0-1 0 0,0 1 1 0 0,1-1 0 0 0,-1 0 0 0 0,0 0 0 0 0,0 1 0 0 0,0-1 0 0 0,0 0 0 0 0,0 0-1 0 0,0 0 1 0 0,0 1 0 0 0,0-1 0 0 0,0 0 0 0 0,1 0 0 0 0,-1 0 0 0 0,0 0-1 0 0,0 0 1 0 0,1 1 0 0 0,-1-1 0 0 0,0 0 0 0 0,1 0 0 0 0,0 0-8 0 0,-1 0 1 0 0,1-1-1 0 0,0 1 1 0 0,-1 0-1 0 0,0 0 1 0 0,1-1-1 0 0,-1 1 1 0 0,1 0-1 0 0,0-1 1 0 0,-1 1-1 0 0,1-1 1 0 0,-1 1-1 0 0,1 0 1 0 0,-1 0-1 0 0,1-1 1 0 0,0 0-1 0 0,0-2-6 0 0,1 1-1 0 0,0-1 1 0 0,-1 1-1 0 0,0-1 1 0 0,0 0-1 0 0,1 0 1 0 0,0-3 0 0 0,-2 5 3 0 0,0 0 0 0 0,0 0 1 0 0,1 0-1 0 0,-1 1 1 0 0,0-1-1 0 0,0 0 1 0 0,0 0-1 0 0,1 0 0 0 0,-1 0 1 0 0,0 0-1 0 0,0 1 1 0 0,0-1-1 0 0,-1 0 0 0 0,1 0 1 0 0,0 0-1 0 0,0 0 1 0 0,0 0-1 0 0,-1 0 1 0 0,1 1-1 0 0,0-1 0 0 0,0 0 1 0 0,0 0-1 0 0,-1 1 1 0 0,0-1-1 0 0,1 0 1 0 0,-1 0-1 0 0,1 1 0 0 0,-1 0 1 0 0,-1-2-1 0 0,2 2-26 0 0,0 0-1 0 0,0-1 1 0 0,-1 1-1 0 0,1 0 0 0 0,-1 0 1 0 0,1 0-1 0 0,-1 0 1 0 0,1 0-1 0 0,-1 0 1 0 0,1 0-1 0 0,-1 0 0 0 0,1 0 1 0 0,-1 0-1 0 0,1 1 1 0 0,0-1-1 0 0,0 0 1 0 0,-1 0-1 0 0,1 0 0 0 0,-1 1 1 0 0,1-1-1 0 0,0 0 1 0 0,-1 0-1 0 0,1 1 0 0 0,-1-1 1 0 0,1 0-1 0 0,-1 0 1 0 0,-1 3-378 0 0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7 16 8498 0 0,'0'0'186'0'0,"0"-1"1"0"0,-1 1 0 0 0,1 0-1 0 0,0 0 1 0 0,0-1-1 0 0,0 1 1 0 0,0 0 0 0 0,0 0-1 0 0,-1 0 1 0 0,1-1-1 0 0,0 1 1 0 0,0 0 0 0 0,0 0-1 0 0,-1 0 1 0 0,1 0-1 0 0,0-1 1 0 0,0 1 0 0 0,-1 0-1 0 0,1 0 1 0 0,0 0-1 0 0,0 0 1 0 0,-1 0-1 0 0,1 0 1 0 0,0 0 0 0 0,0 0-1 0 0,0 0 1 0 0,0 0-1 0 0,0 0 1 0 0,-1 0 0 0 0,1 0-1 0 0,0 0 1 0 0,0 0-1 0 0,-1 0 1 0 0,1 0 0 0 0,0 0-1 0 0,-1 0 1 0 0,1 0-1 0 0,-8 10 4155 0 0,-2 12 510 0 0,10-21-4787 0 0,0 0 0 0 0,0 0 0 0 0,-1 0 0 0 0,1-1 0 0 0,0 1-1 0 0,0 0 1 0 0,0 0 0 0 0,0 0 0 0 0,0 0 0 0 0,0 0 0 0 0,1-1 0 0 0,-1 1 0 0 0,0 0 0 0 0,0 0 0 0 0,1 0 0 0 0,-1 0 0 0 0,1 0 0 0 0,-1-1-1 0 0,0 0 1 0 0,0 1 0 0 0,1 0 0 0 0,-1 0 0 0 0,1 0 0 0 0,1 0 0 0 0,-1 0-24 0 0,-1-1 0 0 0,1 0 0 0 0,-1 0-1 0 0,1 0 1 0 0,-1 1 0 0 0,1-1 0 0 0,0 0 0 0 0,0 0 0 0 0,-1 0 0 0 0,1 0 0 0 0,0 0-1 0 0,0-1 1 0 0,-1 1 0 0 0,0 0 0 0 0,1 0 0 0 0,0 0 0 0 0,-1-1 0 0 0,1 1 0 0 0,0 0 0 0 0,-1-1-1 0 0,1 1 1 0 0,0 0 0 0 0,-1-1 0 0 0,0 1 0 0 0,1-1 0 0 0,-1 1 0 0 0,1-1 0 0 0,-1 0-1 0 0,1 1 1 0 0,-1 0 0 0 0,1 0 0 0 0,-1-2 0 0 0,2-1-83 0 0,0 1 1 0 0,0-2 0 0 0,-1 2-1 0 0,0-1 1 0 0,0 0-1 0 0,1 0 1 0 0,0-6 0 0 0,-1 8 28 0 0,-1 0 0 0 0,0 0 0 0 0,1 0 0 0 0,-1 0 1 0 0,0 0-1 0 0,0 0 0 0 0,0 0 0 0 0,0 0 1 0 0,0 0-1 0 0,0 0 0 0 0,0 0 0 0 0,0 0 0 0 0,-1 0 1 0 0,1 0-1 0 0,0 0 0 0 0,-1 0 0 0 0,1 0 1 0 0,-1 0-1 0 0,1 1 0 0 0,-1-1 0 0 0,1 0 1 0 0,-1 0-1 0 0,0 0 0 0 0,1 0 0 0 0,-1 0 0 0 0,1 1 1 0 0,-1 0-1 0 0,-2-3 0 0 0,3 3-8 0 0,-1 0 0 0 0,1 0 1 0 0,-1 0-1 0 0,1 0 0 0 0,0 0 0 0 0,0 0 0 0 0,-1 0 0 0 0,0 0 0 0 0,1 0 0 0 0,-1 0 1 0 0,1 0-1 0 0,-1 0 0 0 0,1 0 0 0 0,-1 0 0 0 0,1 1 0 0 0,-1-1 0 0 0,1 0 1 0 0,0 0-1 0 0,0 1 0 0 0,-1-1 0 0 0,1 0 0 0 0,-1 0 0 0 0,0 1 0 0 0,-9 8-800 0 0,9-7 425 0 0,-3 2-465 0 0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1 36 9674 0 0,'-4'2'13417'0'0,"4"-2"-13197"0"0,-3 10 3494 0 0,2-9-3674 0 0,1 1-1 0 0,-1 0 1 0 0,1-1-1 0 0,-1 1 1 0 0,1 0 0 0 0,0-1-1 0 0,0 1 1 0 0,0 0-1 0 0,0 0 1 0 0,0-1-1 0 0,1 0 1 0 0,-1 4-1 0 0,1-5-37 0 0,-1 0-1 0 0,0 0 0 0 0,0 0 0 0 0,0 0 1 0 0,0 0-1 0 0,0 0 0 0 0,0 0 1 0 0,0 0-1 0 0,0 0 0 0 0,0 0 1 0 0,1 0-1 0 0,-1 0 0 0 0,0 0 1 0 0,0 0-1 0 0,0 0 0 0 0,0 0 1 0 0,0 0-1 0 0,0 0 0 0 0,1 0 1 0 0,-1 0-1 0 0,0 0 0 0 0,0 0 1 0 0,0 0-1 0 0,0 0 0 0 0,0 0 0 0 0,0 0 1 0 0,1 0-1 0 0,-1 0 0 0 0,0 0 1 0 0,0 0-1 0 0,0 0 0 0 0,0 0 1 0 0,0 0-1 0 0,0 0 0 0 0,0 0 1 0 0,0 0-1 0 0,0 0 0 0 0,0 0 1 0 0,0 0-1 0 0,0 0 0 0 0,0 0 1 0 0,0 0-1 0 0,6-6 72 0 0,3-7 16 0 0,-6 7-131 0 0,-2 2 1 0 0,1 0-1 0 0,0-1 1 0 0,0-1-1 0 0,-1-4 1 0 0,-1 9 31 0 0,0 0 0 0 0,1 1 0 0 0,-1 0 0 0 0,0-1 0 0 0,0 0 1 0 0,0 0-1 0 0,0 0 0 0 0,-1 0 0 0 0,1 0 0 0 0,0 0 1 0 0,0 1-1 0 0,-1-1 0 0 0,1 0 0 0 0,0 0 0 0 0,0 0 0 0 0,-1-1 1 0 0,0 2 6 0 0,1 0 0 0 0,-1 0 1 0 0,1-1-1 0 0,-1 1 1 0 0,0 0-1 0 0,1-1 1 0 0,-1 1-1 0 0,0 0 1 0 0,1 0-1 0 0,0 0 1 0 0,-1-1-1 0 0,0 1 0 0 0,0 0 1 0 0,1 0-1 0 0,-1 0 1 0 0,0 0-1 0 0,0 0 1 0 0,1 0-1 0 0,0 1 1 0 0,-1-1-1 0 0,0 0 0 0 0,1 0 1 0 0,-1 0-1 0 0,0 1 1 0 0,0-1-1 0 0,-1 1-186 0 0,0 0 0 0 0,-1 0 0 0 0,2 1 0 0 0,-1 0 0 0 0,-1-2-1 0 0,2 2 1 0 0,-1 0 0 0 0,0 0 0 0 0,0-1 0 0 0,-1 4 0 0 0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760 5617 0 0,'3'-1'9434'0'0,"1"-2"-3984"0"0,2-2-2819 0 0,5-5-3224 0 0,7-3 1211 0 0,-6 5-615 0 0,1 0-1 0 0,17-6 1 0 0,-17 8-16 0 0,1-1-1 0 0,13-9 1 0 0,56-37 635 0 0,-22 15-252 0 0,-1 5-192 0 0,6-4 756 0 0,85-54-658 0 0,-89 52 73 0 0,-34 20-69 0 0,33-15 0 0 0,50-21-206 0 0,-92 44-40 0 0,19-13 0 0 0,-22 13 18 0 0,30-15-1 0 0,46-25 152 0 0,-21 10-203 0 0,48-26 0 0 0,-113 63 0 0 0,0 2 0 0 0,-1-2 0 0 0,-1 1 0 0 0,1 0 0 0 0,0 0 0 0 0,-1-1 0 0 0,0 0 0 0 0,5-6 0 0 0,-9 10-39 0 0,0 0 0 0 0,0 0 0 0 0,0 0 0 0 0,0 0 0 0 0,0-1 0 0 0,0 1 0 0 0,0 0 0 0 0,0 0 0 0 0,0 0 0 0 0,0 0 0 0 0,0 0 0 0 0,0 0 0 0 0,0 0 0 0 0,0 0 0 0 0,0 0 0 0 0,0 0 0 0 0,0 0 0 0 0,0 0 0 0 0,0 0 0 0 0,0 0 0 0 0,0 0 0 0 0,0 0 0 0 0,0-1 1 0 0,0 1-1 0 0,0 0 0 0 0,0 0 0 0 0,0 0 0 0 0,-1 0 0 0 0,1 0 0 0 0,0 0 0 0 0,0 0 0 0 0,0 0 0 0 0,0 0 0 0 0,0 0 0 0 0,0 0 0 0 0,0 0 0 0 0,0 0 0 0 0,0 0 0 0 0,0 0 0 0 0,0 0 0 0 0,0 0 0 0 0,0 0 0 0 0,0 0 0 0 0,-1 0 0 0 0,1 0 0 0 0,0 0 0 0 0,0 0 0 0 0,0 0 0 0 0,0 0 0 0 0,0 0 0 0 0,0 0 0 0 0,0 0 0 0 0,0 0 0 0 0,0 0 1 0 0,0 0-1 0 0,0 0 0 0 0,0 1 0 0 0,0-1 0 0 0,0 0 0 0 0,0 0 0 0 0,0 0 0 0 0,-1 0 0 0 0,1 0 0 0 0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766 1840 0 0,'4'0'9345'0'0,"4"-2"-6224"0"0,23-17 3038 0 0,15-11-5148 0 0,1-1 86 0 0,53-28 975 0 0,-17 16-2072 0 0,-17 10 0 0 0,-11 2 9 0 0,63-32 36 0 0,-93 51 403 0 0,33-23 0 0 0,-4 2 29 0 0,66-29 115 0 0,13-20-602 0 0,-62 45-88 0 0,-34 17 60 0 0,13-10-255 0 0,-33 19 92 0 0,32-16 0 0 0,-17 12 238 0 0,1-4 0 0 0,35-23 0 0 0,-61 37-54 0 0,0 1 1 0 0,1-1-1 0 0,-1 1 1 0 0,0 1-1 0 0,14-6 1 0 0,-25 12-2646 0 0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8 1840 0 0,'3'-18'13651'0'0,"0"69"-6143"0"0,-4 1-4617 0 0,3 40-1901 0 0,10 79-69 0 0,0-34-580 0 0,-9-103-327 0 0,4 34 120 0 0,-3 94 1 0 0,-4-161-160 0 0,0-1 0 0 0,0 1 0 0 0,0 0 1 0 0,0-1-1 0 0,0 1 0 0 0,0-1 0 0 0,-1 1 1 0 0,1-1-1 0 0,0 0 0 0 0,0 1 0 0 0,0-1 0 0 0,-1 1 1 0 0,1-1-1 0 0,0 1 0 0 0,0-1 0 0 0,-1 1 0 0 0,0 0 1 0 0,1-1-21 0 0,0 0 0 0 0,0 0 1 0 0,0 0-1 0 0,-1 0 0 0 0,1 0 1 0 0,0 0-1 0 0,-1-1 0 0 0,1 1 1 0 0,0 0-1 0 0,0 0 0 0 0,-1 0 1 0 0,1 0-1 0 0,0-1 1 0 0,-1 1-1 0 0,1 0 0 0 0,0 0 1 0 0,0-1-1 0 0,0 1 0 0 0,-1 0 1 0 0,1 0-1 0 0,0-1 0 0 0,0 1 1 0 0,0 0-1 0 0,0-1 0 0 0,-1 1 1 0 0,1 0-1 0 0,0 0 0 0 0,0 0 1 0 0,0 0-1 0 0,0-1 0 0 0,0 1 1 0 0,-1-5-332 0 0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823 432 0 0,'-6'8'12635'0'0,"11"-9"-4363"0"0,5-3-4287 0 0,-3-1-4213 0 0,19-14 1283 0 0,85-70-270 0 0,26-21-729 0 0,-74 60-154 0 0,-8 12 98 0 0,11-11 0 0 0,-46 34-60 0 0,35-21 0 0 0,8-7 414 0 0,70-51-179 0 0,-132 94-180 0 0,63-48-212 0 0,8-5 243 0 0,-40 32 94 0 0,29-19 155 0 0,-40 25-335 0 0,24-11 0 0 0,12-8-36 0 0,-35 20 225 0 0,23-13 1 0 0,-45 27-232 0 0,-7 6-1078 0 0,4-3 578 0 0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803 1352 0 0,'12'4'12910'0'0,"-8"-2"-12165"0"0,-2-1 0 0 0,2-1 0 0 0,-1 1 0 0 0,0 0 0 0 0,7 1 0 0 0,74-1 4068 0 0,-67-2-4584 0 0,-2 0-1 0 0,2-2 1 0 0,-1 1 0 0 0,0-2 0 0 0,29-9-1 0 0,-1-1-224 0 0,-30 10-22 0 0,21-7 0 0 0,59-22 311 0 0,-64 25-148 0 0,-2-2 0 0 0,36-16 0 0 0,93-55-153 0 0,-89 52 113 0 0,-5 1 4 0 0,-22 10 555 0 0,-24 11-475 0 0,20-10 1 0 0,82-41-89 0 0,-90 45-2 0 0,13-5-29 0 0,16-7-12 0 0,84-41 198 0 0,-112 54-249 0 0,84-39 39 0 0,-13 6-99 0 0,-4 2 53 0 0,78-39 0 0 0,-145 69 0 0 0,51-20 0 0 0,-62 27 13 0 0,0-2 1 0 0,-1 0-1 0 0,25-15 0 0 0,-42 22-141 0 0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 4401 0 0,'0'49'13477'0'0,"-1"1"-7681"0"0,-1 49-3219 0 0,1-40-1899 0 0,3 92 244 0 0,-2-102-837 0 0,-1-24 6 0 0,5 40 0 0 0,-1-36-45 0 0,-2-1 0 0 0,-1 42 1 0 0,-3-51 13 0 0,3-19-60 0 0,0 0-1 0 0,0 0 0 0 0,-1 0 1 0 0,1 0-1 0 0,0-1 0 0 0,0 1 1 0 0,0 0-1 0 0,0 0 1 0 0,0 0-1 0 0,0 0 0 0 0,0 0 1 0 0,0 0-1 0 0,0 1 1 0 0,0-1-1 0 0,0 0 0 0 0,0 0 1 0 0,0 0-1 0 0,0 0 0 0 0,0 0 1 0 0,0 0-1 0 0,0 0 1 0 0,0 0-1 0 0,0 0 0 0 0,0 0 1 0 0,0 0-1 0 0,0 0 1 0 0,0 0-1 0 0,0 0 0 0 0,0 0 1 0 0,0 0-1 0 0,0 0 0 0 0,0 0 1 0 0,-1 0-1 0 0,2-11-49 0 0,0-326 90 0 0,2 174-217 0 0,0 120 154 0 0,-3 21 143 0 0,-3-23-1 0 0,-1-8-3607 0 0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 888 0 0,'-2'6'10580'0'0,"-1"12"-5959"0"0,5 54 1826 0 0,-2 41-2539 0 0,3 26-3695 0 0,1-2-40 0 0,-4-134-173 0 0,2 200 309 0 0,7-18-170 0 0,5 39-139 0 0,-11-172 0 0 0,1 24 30 0 0,8 103-308 0 0,-4-15 278 0 0,-5-80 0 0 0,5 227-44 0 0,-3-121 24 0 0,7 220 388 0 0,-9-143-296 0 0,-3 10-72 0 0,5-95 0 0 0,-6-51 32 0 0,-1 0 0 0 0,3 43-32 0 0,-3-59 325 0 0,0-97-157 0 0,-9 29 1 0 0,2-5 1 0 0,-9 37-3325 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3 333 24783 0 0,'9'89'1055'0'0,"-9"-75"-962"0"0,-1-12-375 0 0,0-8-756 0 0,1 3-24 0 0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 3369 0 0,'0'0'257'0'0,"0"0"-45"0"0,0 4 7885 0 0,0 6-6268 0 0,1 18 4698 0 0,-2 17-2947 0 0,-2 1-2350 0 0,-3 187 669 0 0,7-55-1705 0 0,0-152-198 0 0,4 114 68 0 0,3 85 117 0 0,-4-150-115 0 0,3 106 340 0 0,0-18-395 0 0,0-70 181 0 0,-1-16-48 0 0,-5 101-144 0 0,-1-120 0 0 0,0 335-192 0 0,5-197 17 0 0,-3-121 134 0 0,-6 80-54 0 0,0-76 62 0 0,5 7 33 0 0,1-21 0 0 0,-4-44-2462 0 0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2 0 3369 0 0,'0'56'14331'0'0,"0"0"-6877"0"0,0-3-4952 0 0,-4 94-4430 0 0,1-84 3526 0 0,-1 88-1197 0 0,1 11 47 0 0,-5 46 20 0 0,10-69-292 0 0,11 57-70 0 0,0-34-129 0 0,-5-6 110 0 0,5 97 90 0 0,-8-76-177 0 0,2-6 148 0 0,-1-55-50 0 0,-4-75-81 0 0,0-19 14 0 0,-1 1-1 0 0,-1 0 0 0 0,-6 33 0 0 0,4-47-56 0 0,2-9 15 0 0,0 1 0 0 0,0-1 0 0 0,0 0 0 0 0,0 0-1 0 0,-1 0 1 0 0,1 0 0 0 0,0 0 0 0 0,0 0 0 0 0,0 0 0 0 0,0 0 0 0 0,0 0 0 0 0,0 0-1 0 0,0 0 1 0 0,-1 1 0 0 0,1-1 0 0 0,0 0 0 0 0,0 0 0 0 0,0 0 0 0 0,0 0-1 0 0,-1 0 1 0 0,1 0 0 0 0,0 0 0 0 0,0 0 0 0 0,0 0 0 0 0,0 0 0 0 0,-1 0-1 0 0,1 0 1 0 0,0 0 0 0 0,0 0 0 0 0,0 0 0 0 0,-1 0 0 0 0,1 0 0 0 0,0 0-1 0 0,0 0 1 0 0,0 0 0 0 0,0 0 0 0 0,0 0 0 0 0,0 0 0 0 0,0 0 0 0 0,0 0-1 0 0,0 0 1 0 0,-1 0 0 0 0,1 0 0 0 0,0 0 0 0 0,0 0 0 0 0,0-1 0 0 0,0 1-1 0 0,0 0 1 0 0,-1 0 0 0 0,1 0 0 0 0,0 0 0 0 0,-2-3-416 0 0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 334 1352 0 0,'-15'8'19793'0'0,"24"-12"-18222"0"0,73-21 1390 0 0,-38 13-1888 0 0,22-12-808 0 0,-8 0-34 0 0,107-39-143 0 0,-73 26-32 0 0,56-14 204 0 0,-117 40-146 0 0,38-18 0 0 0,-49 20-38 0 0,-1-1 0 0 0,2 2 0 0 0,0 1 0 0 0,0 1 0 0 0,29-5 0 0 0,-26 4-278 0 0,-15 5-409 0 0,-5 0 88 0 0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4 4 7258 0 0,'-3'-1'1467'0'0,"0"1"1"0"0,-1-1-1 0 0,0 0 1 0 0,1 1-1 0 0,-1-1 1 0 0,1 1-1 0 0,-1 0 1 0 0,1 1-1 0 0,-7 0 1 0 0,10 0-1418 0 0,0-1 0 0 0,-1 0 0 0 0,1 0 1 0 0,0 0-1 0 0,0 0 0 0 0,0 0 0 0 0,0 0 1 0 0,0 0-1 0 0,-1 0 0 0 0,1 0 0 0 0,0 0 1 0 0,0 0-1 0 0,0 0 0 0 0,0 0 1 0 0,0 0-1 0 0,0 0 0 0 0,0 0 0 0 0,0 0 1 0 0,0 1-1 0 0,-1-1 0 0 0,1 0 0 0 0,0 0 1 0 0,0 0-1 0 0,0 0 0 0 0,0 1 0 0 0,0-1 1 0 0,0 0-1 0 0,0 0 0 0 0,0 0 0 0 0,0 0 1 0 0,0 1-1 0 0,0-1 0 0 0,0 0 0 0 0,0 0 1 0 0,0 0-1 0 0,0 0 0 0 0,1 0 0 0 0,-1 1 1 0 0,5 5 735 0 0,8 2-454 0 0,19 0-69 0 0,0-1 0 0 0,49 5 0 0 0,-33-6-129 0 0,278 20 759 0 0,-213-28-592 0 0,-19-1-247 0 0,0-5 146 0 0,-1 0-442 0 0,-90 8-44 0 0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3369 0 0,'1'3'570'0'0,"0"-1"-1"0"0,0 1 1 0 0,-1-1 0 0 0,0 2 0 0 0,0-2 0 0 0,0 7 0 0 0,0 1 957 0 0,3 48 7813 0 0,0-1-4445 0 0,-2 117-1940 0 0,0-28-2368 0 0,4-155-532 0 0,-5 6-42 0 0,1 0 1 0 0,1 0-1 0 0,-1 0 1 0 0,1 0-1 0 0,2-3 1 0 0,4 26 382 0 0,-7-20-392 0 0,-1 1 1 0 0,1-1 0 0 0,0 1-1 0 0,-1-1 1 0 0,1 1 0 0 0,0-1-1 0 0,-1 1 1 0 0,1-1 0 0 0,0 0-1 0 0,-1 1 1 0 0,0-1 0 0 0,1 0-1 0 0,0 0 1 0 0,0 1-1 0 0,-1-1 1 0 0,1 0 0 0 0,0 0-1 0 0,0 0 1 0 0,-1 0 0 0 0,0 0-1 0 0,1 0 1 0 0,0 0 0 0 0,0 0-1 0 0,0-1 1 0 0,-1 1 0 0 0,1 0-1 0 0,0 0 1 0 0,-1-1 0 0 0,0 1-1 0 0,1 0 1 0 0,0-1-1 0 0,-1 1 1 0 0,1-1 0 0 0,0 1-1 0 0,-1-1 1 0 0,1 1 0 0 0,-1-1-1 0 0,1 1 1 0 0,-1 0 0 0 0,0-1-1 0 0,1-1 1 0 0,2 0-122 0 0,-1 0 0 0 0,-1-1 0 0 0,1 0 1 0 0,0 1-1 0 0,0-2 0 0 0,-1 2 0 0 0,0-1 0 0 0,2-3 1 0 0,-2-1-625 0 0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432 0 0,'0'1'725'0'0,"0"0"-1"0"0,0 0 0 0 0,1 0 1 0 0,-1 0-1 0 0,0 0 1 0 0,0 0-1 0 0,1 0 1 0 0,-1 0-1 0 0,1-1 1 0 0,-1 1-1 0 0,0 0 0 0 0,0 0 1 0 0,1 0-1 0 0,-1 0 1 0 0,1 0-1 0 0,0 0 1 0 0,0-1-1 0 0,1 2 1 0 0,5 9 3455 0 0,-4 1-3100 0 0,-1 0 0 0 0,-1-1-1 0 0,0 1 1 0 0,-1 0 0 0 0,0-1-1 0 0,-1 17 1 0 0,-1 3-508 0 0,0 94 297 0 0,-2 65-606 0 0,3-184-488 0 0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11634 0 0,'3'0'9038'0'0,"3"-1"-4905"0"0,17 0-2064 0 0,-13 2-1667 0 0,-6 0-388 0 0,0-1 1 0 0,-1 0-1 0 0,1 0 0 0 0,0 0 1 0 0,4-1-1 0 0,-5-1-226 0 0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63 1352 0 0,'-2'-5'11901'0'0,"1"-2"-4426"0"0,4-9-1956 0 0,8-15-5308 0 0,-9 26-165 0 0,2 0 0 0 0,-1 1 0 0 0,1-1 0 0 0,0-1 0 0 0,-1 2 0 0 0,2 0 0 0 0,-1 0 0 0 0,0 0 0 0 0,2 1 0 0 0,-1-1 0 0 0,-1 1 1 0 0,2-1-1 0 0,-1 2 0 0 0,7-4 0 0 0,6-1 122 0 0,1 1 0 0 0,0 0 1 0 0,21-4-1 0 0,-8 5-136 0 0,36-1 0 0 0,-59 6-32 0 0,0 0 0 0 0,0 1 0 0 0,11 2 0 0 0,-12-1 0 0 0,1-1 0 0 0,-1 1 0 0 0,17-2 0 0 0,-20 0-6 0 0,-1 0-1 0 0,1 0 1 0 0,0 0-1 0 0,-1 0 1 0 0,1 1 0 0 0,-1 0-1 0 0,1 1 1 0 0,-1-1-1 0 0,7 3 1 0 0,2-2 6 0 0,-12-2 0 0 0,0 0 0 0 0,1 0 0 0 0,-2 0 0 0 0,1 0 0 0 0,0 0 0 0 0,0 0 0 0 0,1 1 0 0 0,-1-1 0 0 0,-1 0 0 0 0,1 1 0 0 0,0-1 0 0 0,0 0 0 0 0,0 0 0 0 0,1 1 0 0 0,-1 0 0 0 0,16 8 16 0 0,-2-1 15 0 0,-14-7-30 0 0,0-1 0 0 0,-1 1 0 0 0,1 0 0 0 0,0 0-1 0 0,-1-1 1 0 0,1 1 0 0 0,-1 0 0 0 0,0-1 0 0 0,0 1 0 0 0,1 0-1 0 0,-1 0 1 0 0,0 0 0 0 0,1 0 0 0 0,-1 0 0 0 0,0-1 0 0 0,0 1-1 0 0,0 0 1 0 0,0 0 0 0 0,0 1 0 0 0,2 75 127 0 0,2 109 0 0 0,8 105-128 0 0,-7-147 256 0 0,-5-114-256 0 0,-1 101 0 0 0,1 5-2 0 0,1-52 15 0 0,7 186 904 0 0,-2-136-757 0 0,-5-122-80 0 0,0-1 0 0 0,-1 1 0 0 0,-1-1 0 0 0,0 1 0 0 0,0-1 0 0 0,-1 1 0 0 0,-6 19 0 0 0,6-28-21 0 0,0 1 0 0 0,-1 0 0 0 0,1-1-1 0 0,-2 1 1 0 0,2-1 0 0 0,-2 0-1 0 0,1 0 1 0 0,-1 0 0 0 0,1-1 0 0 0,-1 1-1 0 0,-6 3 1 0 0,-6 5-51 0 0,15-10-15 0 0,0 0 0 0 0,-1 0 0 0 0,0 0 1 0 0,2-1-1 0 0,-2 1 0 0 0,0-1 0 0 0,1 0 0 0 0,-1 1 1 0 0,-2 0-1 0 0,-4-1-8785 0 0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352 0 0,'1'3'6537'0'0,"1"1"-3362"0"0,0 5-1052 0 0,1 28 7206 0 0,1 35-5535 0 0,0-28-3382 0 0,-5 60 0 0 0,-1 100-412 0 0,2-141 0 0 0,8 107 64 0 0,-5-96-40 0 0,5 27 16 0 0,13 138-254 0 0,-20-212 201 0 0,12 205-888 0 0,-13-216 966 0 0,-1 0 0 0 0,1 0 1 0 0,-7 21-1 0 0,4-19 40 0 0,-2 38 1 0 0,4-33 18 0 0,0-14-27 0 0,0 0 1 0 0,2-1-1 0 0,-1 1 0 0 0,3 13 0 0 0,-1-11-48 0 0,-2-8-33 0 0,0 0 1 0 0,1 0-1 0 0,0 0 0 0 0,0-1 0 0 0,0 2 1 0 0,0-1-1 0 0,1 3 0 0 0,1-3 27 0 0,0 0 1 0 0,0 0-1 0 0,0 0 0 0 0,0 0 0 0 0,0-1 0 0 0,1 0 0 0 0,-1 1 0 0 0,2-1 1 0 0,-2 0-1 0 0,6 2 0 0 0,14 2 105 0 0,-21-5-121 0 0,0 0 1 0 0,1 0-1 0 0,-1 0 1 0 0,1-1 0 0 0,0 1-1 0 0,-1-1 1 0 0,1 1 0 0 0,-1-1-1 0 0,1 0 1 0 0,-1 0-1 0 0,1 0 1 0 0,0 0 0 0 0,-1-1-1 0 0,1 1 1 0 0,3-2-1 0 0,-1 0 1 0 0,1 1 1 0 0,-1-1-1 0 0,0 1 0 0 0,1 0 0 0 0,0 0 0 0 0,-1 1 0 0 0,0 0 0 0 0,7 0 0 0 0,-5 0-22 0 0,62-4 389 0 0,8-6 138 0 0,-72 10-511 0 0,-1-2 0 0 0,0 1-1 0 0,0 0 1 0 0,-1 0 0 0 0,2-1 0 0 0,-2 0-1 0 0,1 0 1 0 0,-1 1 0 0 0,0-2-1 0 0,1 1 1 0 0,-1 0 0 0 0,1-2 0 0 0,-2 2-1 0 0,7-7 1 0 0,-5 4-439 0 0,1-1-1 0 0,-1 0 1 0 0,-1-1 0 0 0,1 1 0 0 0,-1-1-1 0 0,0 1 1 0 0,3-11 0 0 0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85 1352 0 0,'-5'-1'10059'0'0,"9"-2"-7137"0"0,14 0 109 0 0,23 0-1828 0 0,-1 0 0 0 0,63-16 0 0 0,29-3 781 0 0,27 8-2076 0 0,-148 13 387 0 0,20-6 0 0 0,-22 5 86 0 0,0 0 0 0 0,0 0 0 0 0,16 0 0 0 0,0 2-558 0 0,-6-1 390 0 0,35 4 1 0 0,39 4-288 0 0,3 1 148 0 0,64 21 699 0 0,-119-22-594 0 0,44 17 0 0 0,-2-1 3 0 0,-32-9-182 0 0,62 26 0 0 0,-81-28 0 0 0,1 0 0 0 0,62 17 0 0 0,18-3 153 0 0,7 2 14 0 0,-63-16-167 0 0,73 24 0 0 0,-57-15 0 0 0,-7-3 0 0 0,16 7 22 0 0,41 15 20 0 0,-90-27-42 0 0,55 21 0 0 0,-78-31 4 0 0,3 2 26 0 0,27 4 0 0 0,-35-7-37 0 0,0-1 0 0 0,1 1 0 0 0,-1 0 0 0 0,8 4 0 0 0,-4-2-190 0 0,11 2-1418 0 0,-5-4-3761 0 0,-11-1-1980 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2361 0 0,'0'-1'16944'0'0,"5"0"-11375"0"0,-1 1-6159 0 0,22 6 2873 0 0,24 7-1581 0 0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94 3889 0 0,'-5'3'1805'0'0,"5"-3"-1489"0"0,0 0-1 0 0,-1 0 0 0 0,1 0 0 0 0,0 0 0 0 0,-1 0 0 0 0,1 0 1 0 0,0 0-1 0 0,0 0 0 0 0,0 0 0 0 0,0 1 0 0 0,0-1 0 0 0,-1 0 1 0 0,1 0-1 0 0,0 1 0 0 0,0-1 0 0 0,-1 0 0 0 0,1 0 0 0 0,0 1 1 0 0,0-1-1 0 0,0 0 0 0 0,0 1 0 0 0,-1-1 0 0 0,1 0 0 0 0,0 1 1 0 0,11 0 4561 0 0,10-7-2496 0 0,-14 5-1632 0 0,18-4 822 0 0,30-2 0 0 0,-14 3-1093 0 0,136-13-393 0 0,-40 5-78 0 0,89-12-191 0 0,-206 21 252 0 0,-9 1 38 0 0,20-1 0 0 0,-40 6-4521 0 0,-1-1 1990 0 0,11-4 2531 0 0,-1 2 0 0 0,0-2-1 0 0,1 1 1 0 0,-1-1 0 0 0,1 1 0 0 0,-1 0-1 0 0,1 0 1 0 0,-1 0 0 0 0,0-1-1 0 0,1 1 1 0 0,2-1 0 0 0,-1-4 1210 0 0,-2 6-1252 0 0,0 0 0 0 0,0 0 0 0 0,0 0 0 0 0,0 0 1 0 0,0 0-1 0 0,0 0 0 0 0,0 0 0 0 0,0 0 0 0 0,0 0 0 0 0,0 0 1 0 0,0 0-1 0 0,0 0 0 0 0,0 0 0 0 0,0 0 0 0 0,0 0 0 0 0,0 0 0 0 0,0 0 1 0 0,0 0-1 0 0,0 0 0 0 0,0 0 0 0 0,0 0 0 0 0,0 0 0 0 0,0 0 0 0 0,0 0 1 0 0,-1 0-1 0 0,1 0 0 0 0,0 0 0 0 0,0 0 0 0 0,0 0 0 0 0,0 0 1 0 0,0 0-1 0 0,0 0 0 0 0,0 0 0 0 0,0 0 0 0 0,0 0 0 0 0,0 0 0 0 0,0 0 1 0 0,0 0-1 0 0,0 0 0 0 0,-1 0 0 0 0,1-1 0 0 0,0 1 0 0 0,0 0 0 0 0,0 0 1 0 0,0 0-1 0 0,0 0 0 0 0,0 0 0 0 0,0 0 0 0 0,0 0 0 0 0,0 0 1 0 0,0 0-1 0 0,0 0 0 0 0,0-1 0 0 0,-5 8 1037 0 0,4 4-875 0 0,0-1 0 0 0,0 2 1 0 0,2-2-1 0 0,-1 0 0 0 0,5 22 1 0 0,-1 1 19 0 0,-1 5 47 0 0,-2-18-225 0 0,0 0 1 0 0,1-1 0 0 0,2 0 0 0 0,7 26-1 0 0,-7-37-144 0 0,2-8 292 0 0,-6-1-381 0 0,0 0 0 0 0,1 1-1 0 0,-1-1 1 0 0,1 1 0 0 0,-1-1 0 0 0,1 0-1 0 0,-1 0 1 0 0,0 0 0 0 0,1 0-1 0 0,-1 1 1 0 0,0-1 0 0 0,1 0 0 0 0,-1 1-1 0 0,0-1 1 0 0,0-2 0 0 0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5 2881 0 0,'3'-4'20754'0'0,"-1"5"-18109"0"0,2 1-5493 0 0,25 14 4082 0 0,59 24 1 0 0,-62-31-1067 0 0,-1 2 0 0 0,0 1 1 0 0,30 20-1 0 0,-48-27-136 0 0,0-2 0 0 0,0 0 0 0 0,-1 1 0 0 0,2-1 0 0 0,-1 0 0 0 0,1-1 0 0 0,0-1 0 0 0,-1 1 0 0 0,1 0 0 0 0,0-1 0 0 0,0-1 0 0 0,13 0 0 0 0,-20 0-32 0 0,-2 0-15 0 0,1 0 0 0 0,-1 0 0 0 0,1 1 0 0 0,0-1 1 0 0,0 0-1 0 0,0 0 0 0 0,-1 0 0 0 0,1 0 0 0 0,0 0 0 0 0,-1 0 0 0 0,1 0 1 0 0,-1 0-1 0 0,1 0 0 0 0,0 1 0 0 0,-1-1 0 0 0,1 0 0 0 0,0 1 0 0 0,0-1 1 0 0,-1 0-1 0 0,1 1 0 0 0,-1 1 41 0 0,0-1 0 0 0,1-1 0 0 0,-1 2 0 0 0,1-1 0 0 0,-1 1 0 0 0,0-1 0 0 0,1 0 0 0 0,-1 0 0 0 0,1 1 0 0 0,0-1 0 0 0,-1 2 0 0 0,0 18 112 0 0,0 0 1 0 0,3 39 0 0 0,0-48-84 0 0,0 1 0 0 0,0-1-1 0 0,2 1 1 0 0,-1-1 0 0 0,2 0 0 0 0,4 12 0 0 0,-7-22-333 0 0,-1 0 0 0 0,0 0 1 0 0,0 0-1 0 0,1 0 0 0 0,0 0 1 0 0,-1-1-1 0 0,4 4 0 0 0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 3369 0 0,'-1'-3'18858'0'0,"6"4"-12177"0"0,0 1-9114 0 0,0 1 2551 0 0,-1 0 1 0 0,1-1-1 0 0,6 3 0 0 0,-6-3-111 0 0,-1 0-1 0 0,0 0 0 0 0,1 0 1 0 0,5 5-1 0 0,-9-6 2 0 0,0 0 1 0 0,0 0-1 0 0,0-1 1 0 0,0 2-1 0 0,0-1 1 0 0,0 0-1 0 0,0 1 1 0 0,-1-1-1 0 0,1 0 1 0 0,-1 0-1 0 0,1 1 1 0 0,-1-1-1 0 0,1 0 1 0 0,-1 0-1 0 0,0 1 1 0 0,1 0-1 0 0,-1-1 1 0 0,0 0-1 0 0,0 3 1 0 0,0-1 49 0 0,0 6 46 0 0,0-1 1 0 0,0 2-1 0 0,-1-1 0 0 0,-1-1 0 0 0,-3 18 0 0 0,3-21-103 0 0,-4 18-55 0 0,6-23 52 0 0,0 0 1 0 0,-1 1-1 0 0,1-1 1 0 0,0 1 0 0 0,0 0-1 0 0,0-1 1 0 0,0 1-1 0 0,0 0 1 0 0,0-1 0 0 0,0 1-1 0 0,1 0 1 0 0,-1-1 0 0 0,0 0-1 0 0,0 1 1 0 0,0-1-1 0 0,0 1 1 0 0,0 0 0 0 0,0-1-1 0 0,1 1 1 0 0,-1-1 0 0 0,1 1-1 0 0,-1 0 1 0 0,0-1-1 0 0,1 0 1 0 0,-1 0 0 0 0,1 1-1 0 0,-1-1 1 0 0,1 0-1 0 0,0 1 1 0 0,-1-1 0 0 0,1 0-1 0 0,-1 1 1 0 0,2-2 9 0 0,0 0 0 0 0,-1 0 1 0 0,0 1-1 0 0,1-1 0 0 0,-1 0 1 0 0,1 0-1 0 0,-1-1 0 0 0,0 1 0 0 0,0 0 1 0 0,0 0-1 0 0,0-1 0 0 0,1-1 0 0 0,3-3 13 0 0,-3 4-50 0 0,0 1 0 0 0,0-1 0 0 0,0 1-1 0 0,-1-1 1 0 0,2 1 0 0 0,3-2 0 0 0,-6 3 25 0 0,0 0 0 0 0,1 0 1 0 0,-1 0-1 0 0,1-1 0 0 0,-1 1 1 0 0,0 0-1 0 0,0 0 0 0 0,0 0 1 0 0,1 0-1 0 0,-1 0 0 0 0,0 0 0 0 0,1 0 1 0 0,-1 0-1 0 0,1 0 0 0 0,-1 0 1 0 0,0 0-1 0 0,1 1 0 0 0,-1-1 0 0 0,1 0 1 0 0,-1 0-1 0 0,0 0 0 0 0,1 0 1 0 0,-1 0-1 0 0,0 0 0 0 0,1 0 0 0 0,-1 0 1 0 0,0 1-1 0 0,0-1 0 0 0,0 0 1 0 0,0 1-1 0 0,1-1 0 0 0,-1 0 1 0 0,0 1-1 0 0,0-1 0 0 0,0 0 0 0 0,1 1 1 0 0,-1-1-1 0 0,0 0 0 0 0,0 1 1 0 0,0-1-1 0 0,0 1 0 0 0,0-1 0 0 0,0 0 1 0 0,0 0-1 0 0,0 0 0 0 0,0 1 1 0 0,0-1-1 0 0,0 0 0 0 0,0 1 0 0 0,0-1 1 0 0,0 1-1 0 0,0-1 0 0 0,0 0 1 0 0,0 1-1 0 0,-1 20 6 0 0,-5 26 0 0 0,5-42-7 0 0,3 2-474 0 0,2-6-3190 0 0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16 888 0 0,'5'-16'17316'0'0,"-5"17"-17195"0"0,2 8 3079 0 0,-1 61 1925 0 0,-2-37-4815 0 0,-8 38 0 0 0,8-69-406 0 0,-1-6-364 0 0,0-6 1285 0 0,2 9-818 0 0,0 1 0 0 0,0-1 0 0 0,1 1 0 0 0,-1-1 1 0 0,0 1-1 0 0,1-1 0 0 0,-1 1 0 0 0,0 0 0 0 0,1-1 0 0 0,-1 1 0 0 0,0 0 0 0 0,0-1 0 0 0,0 1 0 0 0,1 0 0 0 0,-1 0 0 0 0,1 0 0 0 0,-1 0 0 0 0,1 0 0 0 0,-1 0 0 0 0,1-1 1 0 0,-1 1-1 0 0,1 0 0 0 0,-1 0 0 0 0,1 0 0 0 0,-1 0 0 0 0,0 0 0 0 0,0 0 0 0 0,1 0 0 0 0,-1 0 0 0 0,1 0 0 0 0,-1 0 0 0 0,1 0 0 0 0,-1 1 0 0 0,2-1 0 0 0,18 4 168 0 0,-17-3-143 0 0,60 19 274 0 0,-62-20-328 0 0,0 0-1 0 0,-1 0 0 0 0,1 0 0 0 0,-1 0 0 0 0,0 1 1 0 0,1-1-1 0 0,-1 0 0 0 0,1 0 0 0 0,0 0 0 0 0,-1 0 1 0 0,1 0-1 0 0,-1 0 0 0 0,1 0 0 0 0,0-1 0 0 0,-1 1 1 0 0,0 0-1 0 0,0 0 0 0 0,2 0 0 0 0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3 0 1352 0 0,'0'18'15253'0'0,"-1"4"-7748"0"0,0 71-4753 0 0,2 24-2320 0 0,3 46 116 0 0,-1-40-198 0 0,-2-63-240 0 0,0 110-65 0 0,0 16 6 0 0,-1-6 93 0 0,-1-83-88 0 0,2-24-72 0 0,-2 73-32 0 0,4 13 83 0 0,2-46-14 0 0,-4-30 5 0 0,-5 118 76 0 0,3-192-102 0 0,1-5 0 0 0,-1 1 0 0 0,1-1 0 0 0,-1 0 0 0 0,1 1 0 0 0,-4 4 0 0 0,4-8 0 0 0,0-1 0 0 0,0 1 0 0 0,0-1 0 0 0,-1 1 0 0 0,1-1 0 0 0,0 0 0 0 0,0 1 0 0 0,-1-1 0 0 0,1 0 0 0 0,0 0 0 0 0,0 0 0 0 0,0 1 0 0 0,0-1 0 0 0,0 1 0 0 0,-1-1 0 0 0,1 0 0 0 0,-1 0 0 0 0,1 1 0 0 0,0-1 0 0 0,-2 1 0 0 0,-7-5 0 0 0,9 4 0 0 0,-2 0 0 0 0,-1 0 0 0 0,1-1 0 0 0,-1 1 0 0 0,1 0 0 0 0,0 0 0 0 0,-1 0 0 0 0,1 0 0 0 0,-1 0 0 0 0,0 0 0 0 0,1 1 0 0 0,0-1 0 0 0,0 0 0 0 0,-1 1 0 0 0,0 0 0 0 0,2 0 0 0 0,-2 1 0 0 0,-1 0 0 0 0,-17 5 0 0 0,16-6 0 0 0,1 0 0 0 0,-1 1 0 0 0,0-2 0 0 0,1 2 0 0 0,-1 1 0 0 0,1-1 0 0 0,0-1 0 0 0,0 2 0 0 0,-1-1 0 0 0,2 2 0 0 0,-2-2 0 0 0,2 2 0 0 0,0-2 0 0 0,-1 2 0 0 0,1 0 0 0 0,-1 0 0 0 0,2-1 0 0 0,-1 1 0 0 0,-2 5 0 0 0,4-7 38 0 0,-4 5-152 0 0,4-6-739 0 0,1-2-1016 0 0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4 17916 0 0,'0'0'181'0'0,"1"1"0"0"0,-1-1-1 0 0,1 1 1 0 0,-1-1 0 0 0,1 0 0 0 0,-1 1 0 0 0,0-1 0 0 0,0 0-1 0 0,1 0 1 0 0,-1 0 0 0 0,1 1 0 0 0,-1-1 0 0 0,1 0 0 0 0,-1 0-1 0 0,1 0 1 0 0,-1 0 0 0 0,1 0 0 0 0,0 0 0 0 0,-1 0 0 0 0,0 0 0 0 0,0 0-1 0 0,1 0 1 0 0,-1 0 0 0 0,1 0 0 0 0,0 0 0 0 0,15-3 1502 0 0,-11 2-1327 0 0,0 0-75 0 0,-1 0 1 0 0,1 0-1 0 0,1 1 0 0 0,-2-1 1 0 0,10 1-1 0 0,-13 0-250 0 0,1 1-1 0 0,0-1 1 0 0,0 1 0 0 0,-1 0 0 0 0,2-1-1 0 0,-1 1 1 0 0,-1 0 0 0 0,1 0-1 0 0,0 0 1 0 0,-1 0 0 0 0,0 0-1 0 0,1 0 1 0 0,0 1 0 0 0,-1-1 0 0 0,0 1-1 0 0,0-1 1 0 0,1 0 0 0 0,0 4-1 0 0,2 1 40 0 0,-1 0 0 0 0,1 1 0 0 0,-1-1-1 0 0,-1 0 1 0 0,1 1 0 0 0,-2 0 0 0 0,1 0-1 0 0,1 9 1 0 0,3 60 388 0 0,-5-64-399 0 0,-1 13 114 0 0,-1 26 0 0 0,0-41-123 0 0,0 0 0 0 0,-1 0 0 0 0,0 0 0 0 0,-1-1-1 0 0,-5 16 1 0 0,8-25-45 0 0,0 1 0 0 0,-1 0 1 0 0,1 0-1 0 0,-1 0 0 0 0,1-1 0 0 0,-1 1 0 0 0,0 0 1 0 0,1 0-1 0 0,-1-1 0 0 0,0 1 0 0 0,1 0 0 0 0,-1-1 0 0 0,1 1 1 0 0,-1 0-1 0 0,0-1 0 0 0,1 1 0 0 0,-1-1 0 0 0,0 1 0 0 0,0-1 1 0 0,0 0-1 0 0,1 0 0 0 0,-1 1 0 0 0,0-1 0 0 0,0 0 1 0 0,0 0-1 0 0,-1 0 0 0 0,2 1 0 0 0,-1-1 0 0 0,0 0 0 0 0,0 0 1 0 0,-1-1-1 0 0,-1 0 25 0 0,-1 1 1 0 0,1-1 0 0 0,0-1-1 0 0,0 1 1 0 0,-1-1 0 0 0,-3-3-1 0 0,1 2-18 0 0,5 3-45 0 0,0-1-1 0 0,0 1 1 0 0,-1 0 0 0 0,1 0-1 0 0,1 0 1 0 0,-1-1-1 0 0,-1 1 1 0 0,1 0 0 0 0,0 1-1 0 0,0-1 1 0 0,0 0-1 0 0,-1 1 1 0 0,1-1-11 0 0,1 0 0 0 0,0 0-1 0 0,-1 0 1 0 0,1 0 0 0 0,-1 0-1 0 0,1 0 1 0 0,0 0 0 0 0,0 0 0 0 0,0 0-1 0 0,-1 0 1 0 0,1 1 0 0 0,0-1 0 0 0,-1 0-1 0 0,1 0 1 0 0,0 0 0 0 0,-1 0 0 0 0,1 0-1 0 0,0 0 1 0 0,-1 1 0 0 0,1-1 0 0 0,0 0-1 0 0,0 1 1 0 0,-1-1 0 0 0,1 0-1 0 0,0 1 1 0 0,0-1 0 0 0,0 1 0 0 0,-1-1-1 0 0,1 0 1 0 0,0 1 0 0 0,0-1 0 0 0,0 1-1 0 0,0-1 1 0 0,0 0 0 0 0,0 1 0 0 0,0-1-1 0 0,0 0 1 0 0,0 1 0 0 0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6489 0 0,'1'16'9104'0'0,"1"4"-5267"0"0,-1 32-872 0 0,4 83 121 0 0,2-44-9384 0 0,-7-89 4444 0 0,0 0-16 0 0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15899 0 0,'4'33'4049'0'0,"-1"58"-1"0"0,-2-34-2861 0 0,-1-13-695 0 0,1 6-988 0 0,1-17-4271 0 0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5987 0 0,'2'129'7853'0'0,"-1"-43"-5753"0"0,2-15-3808 0 0,0 1-4263 0 0,-2-67-1880 0 0</inkml:trace>
</inkml:ink>
</file>

<file path=ppt/ink/ink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2 10882 0 0,'-1'-1'9275'0'0,"4"-3"-5294"0"0,3-3-3128 0 0,-2 4-633 0 0,-1 2 0 0 0,1-2 1 0 0,0 1-1 0 0,0 1 0 0 0,-1-1 1 0 0,1 1-1 0 0,0-1 0 0 0,0 1 0 0 0,0 1 1 0 0,6-2-1 0 0,1 1-1815 0 0,0 1-1 0 0,17 1 1 0 0,-24 0 236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1/2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magen a modificar</a:t>
            </a:r>
          </a:p>
          <a:p>
            <a:endParaRPr lang="es-e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968864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515835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413050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62B07-246E-B973-7E0E-2D288BC292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D3D2F325-097A-964D-BA82-7FADFC7344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4DC1CC42-B26A-E9A6-B75A-675B3D89ED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954F91F-67E9-77A8-70C1-7A77E21F6B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294457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405696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843565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586533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BD1516-BC30-4C99-B432-E3900066B4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0AF72FDB-9D27-BD54-89E5-83D28D8D54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2C0B82C8-8350-5202-E0DC-08D965FBFF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C6B9E15-00B9-4358-F232-A9A270524F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001485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l" rtl="0">
              <a:buFontTx/>
              <a:buChar char="-"/>
            </a:pPr>
            <a:r>
              <a:rPr lang="es-es" b="0" i="0" u="none" baseline="0"/>
              <a:t>Muy específico</a:t>
            </a:r>
          </a:p>
          <a:p>
            <a:pPr marL="171450" indent="-171450" algn="l" rtl="0">
              <a:buFontTx/>
              <a:buChar char="-"/>
            </a:pPr>
            <a:r>
              <a:rPr lang="es-es" b="0" i="0" u="none" baseline="0"/>
              <a:t>Enfoque en la productivid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126852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Cambiar render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152541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028041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55258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979334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93039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957338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12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11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6.png"/><Relationship Id="rId4" Type="http://schemas.openxmlformats.org/officeDocument/2006/relationships/image" Target="../media/image13.png"/><Relationship Id="rId9" Type="http://schemas.openxmlformats.org/officeDocument/2006/relationships/image" Target="../media/image5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12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11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6.png"/><Relationship Id="rId4" Type="http://schemas.openxmlformats.org/officeDocument/2006/relationships/image" Target="../media/image13.png"/><Relationship Id="rId9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05294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10" name="Pladsholder til tabel 9">
            <a:extLst>
              <a:ext uri="{FF2B5EF4-FFF2-40B4-BE49-F238E27FC236}">
                <a16:creationId xmlns:a16="http://schemas.microsoft.com/office/drawing/2014/main" id="{60B336A9-F04D-446C-2BEA-65F50C061020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476250" y="1629720"/>
            <a:ext cx="11234738" cy="4070350"/>
          </a:xfrm>
        </p:spPr>
        <p:txBody>
          <a:bodyPr/>
          <a:lstStyle/>
          <a:p>
            <a:r>
              <a:rPr lang="it-IT"/>
              <a:t>Fare clic sull'icona per inserire una tabella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3323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9059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99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12A5AFD-B1A6-76FF-A26D-4DAC6BC21D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12A5AFD-B1A6-76FF-A26D-4DAC6BC21D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A012CCD-3F4C-4AB0-2AD1-56FD8B4BBF11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371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43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68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CAF5552-62BF-67EF-182F-EAA55F2041D4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B3199C1D-DDA2-AEB0-1F23-BF3FD383D262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EC0C11CF-CB3B-759F-5CD8-8995152240A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CEC6D4B-CBCD-8217-5F9C-8C2A1C05C27C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F747449-C19A-4780-0C1D-234A9F38B081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ACCE552-B22E-DC42-A441-2235D955C76B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EFB33F56-786C-4895-8FAF-089EA96ACC98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EE90CDA-27C9-1162-300A-EBD97711BBDA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081256C-640F-1A2C-AAED-2F1FED18B9B7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245AFB2-F54E-2674-6A09-5C26F8E5BA67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BF85483-446E-B6CB-7A88-71C972FEF4B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7BC1F75-1A43-D3A0-1B3C-C47B7E5F7223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DCE1A34-DC0E-8764-AF59-263F861A3094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8A9F3E6-D080-ED44-190F-6E779A877464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1F2B683-B86F-CE3E-AF4B-B5AF028B3542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44FEA0DD-6A92-1F31-E314-DEE5EE7ACCCE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B973F70-25D2-75D9-5940-2BA4A14A88F7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92F9326-1985-BB21-AE4F-ED5A6C830876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57071E0-6A8A-4192-0A84-E69FA4A45274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1959C84-3046-1868-E5A7-FC99FC5098B8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C7455B61-D568-A1A6-80B4-ABA2F1ED7CC8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D72F7C5-EF14-0C86-2F12-82FA487E1184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AD3A3F5-CDBF-9EB5-E376-AA25C8C9916B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0F8D275D-BFA0-A321-57B7-49D044ACDC8A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E266183E-488C-65DD-99E7-58A7264EE43D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557E59B-8AB5-7880-3C56-90E09F747E63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74A5BED-DAC2-AA12-6769-CC4E20F5AA6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31674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500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3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59" progId="TCLayout.ActiveDocument.1">
                  <p:embed/>
                </p:oleObj>
              </mc:Choice>
              <mc:Fallback>
                <p:oleObj name="think-cell Slide" r:id="rId4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E4C2270-1E5D-5E09-F326-B35B1BA73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663" imgH="659" progId="TCLayout.ActiveDocument.1">
                  <p:embed/>
                </p:oleObj>
              </mc:Choice>
              <mc:Fallback>
                <p:oleObj name="Diapositiva think-cell" r:id="rId4" imgW="663" imgH="65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E4C2270-1E5D-5E09-F326-B35B1BA7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4146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840423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51009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485EE3-8F27-1DEA-0A81-60EC71998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0485EE3-8F27-1DEA-0A81-60EC71998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9010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3A2FA6C-0E46-29F2-076A-6D5F0627EB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3A2FA6C-0E46-29F2-076A-6D5F0627EB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7500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33916E-C2CA-BD45-0BA0-B5B7C6849B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33916E-C2CA-BD45-0BA0-B5B7C6849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27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DB39498-2438-A61A-415E-5A2F6988CB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DB39498-2438-A61A-415E-5A2F6988C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5742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87FCFE4-3F74-6924-87C9-E17E84B6B1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87FCFE4-3F74-6924-87C9-E17E84B6B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46087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E3E730F-A7CE-A5BC-1957-25C74881A5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E3E730F-A7CE-A5BC-1957-25C74881A5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13518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1056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252890-6DEB-980E-DC2D-493D89B661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252890-6DEB-980E-DC2D-493D89B661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34717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DESIGN AND EFFECTS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 dirty="0">
                <a:solidFill>
                  <a:schemeClr val="tx1"/>
                </a:solidFill>
                <a:cs typeface="Arial" pitchFamily="34" charset="0"/>
              </a:rPr>
            </a:br>
            <a:endParaRPr lang="en-US" sz="800" dirty="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 dirty="0">
                <a:latin typeface="+mj-lt"/>
              </a:rPr>
              <a:t>Nilfisk presentation guidelines and tips</a:t>
            </a:r>
            <a:endParaRPr lang="en-US" sz="2800" dirty="0">
              <a:latin typeface="+mj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8E09389-BE40-B4C1-32D9-A2479E27911F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082AB62-A0B3-B54B-A035-960B748ECBBF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913BCC-8811-1330-6F91-A13EDD6E4BED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E53D30-4E93-A849-C9A0-D04AE1A348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4C45A80-9686-5713-C0AF-E4CA8B70FAB4}"/>
              </a:ext>
            </a:extLst>
          </p:cNvPr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A47C94-F493-34B2-B3E0-EDC68AFDC507}"/>
              </a:ext>
            </a:extLst>
          </p:cNvPr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1D354F6-77D2-D230-B98F-7D61223EF5E9}"/>
              </a:ext>
            </a:extLst>
          </p:cNvPr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5D47CF-ADCD-F541-49B4-DC5056F7B4AE}"/>
              </a:ext>
            </a:extLst>
          </p:cNvPr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112828-DFA1-1631-6A27-8959014BE75E}"/>
              </a:ext>
            </a:extLst>
          </p:cNvPr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67FF64-0D66-E9E6-23E5-1910984F578B}"/>
              </a:ext>
            </a:extLst>
          </p:cNvPr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0051DAB-FD5F-E818-89BC-CFEB7818734E}"/>
              </a:ext>
            </a:extLst>
          </p:cNvPr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F79BECB-2645-EFBD-0EE3-CB5A7AC0FCB7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4599776-4B53-A119-3270-6B733D86A9D8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9A7ECF9-49F3-4BE3-609F-B4A9CCF4132F}"/>
              </a:ext>
            </a:extLst>
          </p:cNvPr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094FE01-EC27-0070-5A72-E30D5548A8A5}"/>
              </a:ext>
            </a:extLst>
          </p:cNvPr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845F42-1DB1-4B5E-A504-1CD930FB1B3D}"/>
              </a:ext>
            </a:extLst>
          </p:cNvPr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E85EED3-AA4F-4513-7AC1-880FAE344673}"/>
              </a:ext>
            </a:extLst>
          </p:cNvPr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491ABFC-CE4F-F3DC-D639-9846E25BC9AE}"/>
              </a:ext>
            </a:extLst>
          </p:cNvPr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FA5CF9D-602D-6D7F-08CC-B4F2629E92A2}"/>
              </a:ext>
            </a:extLst>
          </p:cNvPr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5B3925-4BBF-2167-67F2-706025B9A4E0}"/>
              </a:ext>
            </a:extLst>
          </p:cNvPr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EECFF40-121E-B175-63FF-737A035974CE}"/>
              </a:ext>
            </a:extLst>
          </p:cNvPr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945494B-2EBB-32D5-B250-E2E82A18D3AA}"/>
              </a:ext>
            </a:extLst>
          </p:cNvPr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42C28A0-5DD0-5059-232B-510EB80135B2}"/>
              </a:ext>
            </a:extLst>
          </p:cNvPr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2B8022D-24EA-5904-824A-1AEA9111836C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41" name="Rektangel 22">
              <a:extLst>
                <a:ext uri="{FF2B5EF4-FFF2-40B4-BE49-F238E27FC236}">
                  <a16:creationId xmlns:a16="http://schemas.microsoft.com/office/drawing/2014/main" id="{540E164A-6E5D-9113-8BC4-6DB97A4E9418}"/>
                </a:ext>
              </a:extLst>
            </p:cNvPr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49" name="Rektangel 11">
              <a:extLst>
                <a:ext uri="{FF2B5EF4-FFF2-40B4-BE49-F238E27FC236}">
                  <a16:creationId xmlns:a16="http://schemas.microsoft.com/office/drawing/2014/main" id="{7E80C253-BF2D-A11A-9FD0-3B782D1CAFC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4" name="Rektangel 7">
              <a:extLst>
                <a:ext uri="{FF2B5EF4-FFF2-40B4-BE49-F238E27FC236}">
                  <a16:creationId xmlns:a16="http://schemas.microsoft.com/office/drawing/2014/main" id="{92CFBB99-581A-BFDF-AF08-24BD7AC1DED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9" name="Rektangel 9">
              <a:extLst>
                <a:ext uri="{FF2B5EF4-FFF2-40B4-BE49-F238E27FC236}">
                  <a16:creationId xmlns:a16="http://schemas.microsoft.com/office/drawing/2014/main" id="{3E6B32BC-577B-5EA9-E476-8C5534012F8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557C3C75-771D-32EB-11FB-C4D6D4DB4F6D}"/>
              </a:ext>
            </a:extLst>
          </p:cNvPr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61" name="Rektangel 22">
            <a:extLst>
              <a:ext uri="{FF2B5EF4-FFF2-40B4-BE49-F238E27FC236}">
                <a16:creationId xmlns:a16="http://schemas.microsoft.com/office/drawing/2014/main" id="{E9198C3B-C6DE-6AC0-EECE-1454A2E021DF}"/>
              </a:ext>
            </a:extLst>
          </p:cNvPr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8ED2EF4-CFEF-A9AF-9491-EC39567A43C2}"/>
              </a:ext>
            </a:extLst>
          </p:cNvPr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65" name="Rektangel 9">
            <a:extLst>
              <a:ext uri="{FF2B5EF4-FFF2-40B4-BE49-F238E27FC236}">
                <a16:creationId xmlns:a16="http://schemas.microsoft.com/office/drawing/2014/main" id="{8675EEC2-B9C8-A67B-A698-C23924054D2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2618D88-7AED-A6F2-4FEF-4741A5143BA4}"/>
              </a:ext>
            </a:extLst>
          </p:cNvPr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67" name="Content Placeholder 5">
            <a:extLst>
              <a:ext uri="{FF2B5EF4-FFF2-40B4-BE49-F238E27FC236}">
                <a16:creationId xmlns:a16="http://schemas.microsoft.com/office/drawing/2014/main" id="{51D28C3E-FA9A-628B-1F9B-A8BF69A22CE9}"/>
              </a:ext>
            </a:extLst>
          </p:cNvPr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9E38311D-594B-D4A2-2793-6A3AF11E9A07}"/>
              </a:ext>
            </a:extLst>
          </p:cNvPr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itle 1">
            <a:extLst>
              <a:ext uri="{FF2B5EF4-FFF2-40B4-BE49-F238E27FC236}">
                <a16:creationId xmlns:a16="http://schemas.microsoft.com/office/drawing/2014/main" id="{B8689EFC-8ABC-F566-4058-3A73AB5CA5E6}"/>
              </a:ext>
            </a:extLst>
          </p:cNvPr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9" name="Date Placeholder 8">
            <a:extLst>
              <a:ext uri="{FF2B5EF4-FFF2-40B4-BE49-F238E27FC236}">
                <a16:creationId xmlns:a16="http://schemas.microsoft.com/office/drawing/2014/main" id="{309952C7-6022-3A49-65C0-0DC0427C996F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80" name="Footer Placeholder 12">
            <a:extLst>
              <a:ext uri="{FF2B5EF4-FFF2-40B4-BE49-F238E27FC236}">
                <a16:creationId xmlns:a16="http://schemas.microsoft.com/office/drawing/2014/main" id="{6704F148-08CF-1E07-71C0-F51A0290286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8" name="Slide Number Placeholder 13">
            <a:extLst>
              <a:ext uri="{FF2B5EF4-FFF2-40B4-BE49-F238E27FC236}">
                <a16:creationId xmlns:a16="http://schemas.microsoft.com/office/drawing/2014/main" id="{2741F885-8662-0E6A-5435-0F12EAE2DFF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1" name="Rektangel 22">
            <a:extLst>
              <a:ext uri="{FF2B5EF4-FFF2-40B4-BE49-F238E27FC236}">
                <a16:creationId xmlns:a16="http://schemas.microsoft.com/office/drawing/2014/main" id="{05400EBB-3F74-3539-EA2E-00CB1E4AB658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EAB61C60-C044-E4C6-AB9F-AD699FDDC246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9" name="Rektangel 9">
            <a:extLst>
              <a:ext uri="{FF2B5EF4-FFF2-40B4-BE49-F238E27FC236}">
                <a16:creationId xmlns:a16="http://schemas.microsoft.com/office/drawing/2014/main" id="{0E4CFA26-A35F-CAB3-17F0-55D5FB57769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62D86DE-90D4-456F-52B0-B5F8E303C287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101" name="Rektangel 9">
            <a:extLst>
              <a:ext uri="{FF2B5EF4-FFF2-40B4-BE49-F238E27FC236}">
                <a16:creationId xmlns:a16="http://schemas.microsoft.com/office/drawing/2014/main" id="{2EF70451-24B6-2BE6-FF0F-5E649CACD2B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5F5B32CD-EE4C-A63D-E610-9EE9036D8DFA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1A67A6BD-7C30-1FE1-D107-B70171988AD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F47D01DA-11D1-6879-2D8E-1F8A8163DFB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id="{56DE12D4-4026-8E56-58FB-9C7F10786464}"/>
              </a:ext>
            </a:extLst>
          </p:cNvPr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12751734-6EAA-D1F7-0F67-ECCB3ADFB969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B6F175D2-DE29-C5A6-EDF4-92F7D10345D9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26DC63-298A-0900-6675-DD6FC4BB6130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5" name="Picture 124">
            <a:extLst>
              <a:ext uri="{FF2B5EF4-FFF2-40B4-BE49-F238E27FC236}">
                <a16:creationId xmlns:a16="http://schemas.microsoft.com/office/drawing/2014/main" id="{A80FAEC7-DBA8-5A36-EEB0-4B5355B0B5B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26" name="Group 125">
            <a:extLst>
              <a:ext uri="{FF2B5EF4-FFF2-40B4-BE49-F238E27FC236}">
                <a16:creationId xmlns:a16="http://schemas.microsoft.com/office/drawing/2014/main" id="{A5FE512E-5800-D664-14EB-160B8648FC26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D155BB0A-13E3-14FE-08B8-F0BC67E97B00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7CA00E49-0013-8B3C-190C-90ED03CB932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5" name="TextBox 134">
            <a:extLst>
              <a:ext uri="{FF2B5EF4-FFF2-40B4-BE49-F238E27FC236}">
                <a16:creationId xmlns:a16="http://schemas.microsoft.com/office/drawing/2014/main" id="{FD2B203A-0B51-34B9-CBBA-42DFFC611FA5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B72C8E3B-C248-E7DA-F168-E3EA9767FC75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7659C350-2BF4-2E86-8759-4DE40F1D5E4D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5387526D-182B-3758-1EED-80A8BB346E0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39" name="Picture 138">
            <a:extLst>
              <a:ext uri="{FF2B5EF4-FFF2-40B4-BE49-F238E27FC236}">
                <a16:creationId xmlns:a16="http://schemas.microsoft.com/office/drawing/2014/main" id="{D3069C8D-4BDA-DB68-F8CC-C954A4F54E0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40" name="Oval 139">
            <a:extLst>
              <a:ext uri="{FF2B5EF4-FFF2-40B4-BE49-F238E27FC236}">
                <a16:creationId xmlns:a16="http://schemas.microsoft.com/office/drawing/2014/main" id="{F20A61A9-C067-7590-2199-D7AF32621913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41" name="Rectangle: Rounded Corners 140">
            <a:extLst>
              <a:ext uri="{FF2B5EF4-FFF2-40B4-BE49-F238E27FC236}">
                <a16:creationId xmlns:a16="http://schemas.microsoft.com/office/drawing/2014/main" id="{8B267266-7AF8-4DB7-8093-2D5A49DE1599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0C826B8B-4C51-55C9-279F-4142A5DF7251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CA307FE-C25D-4EFD-7366-30EFABBD2637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376BA63C-E3EF-126F-3A71-60A18C1A7B83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817275D-A116-CBC8-8B6D-98E118EF9AA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46" name="Picture 145">
            <a:extLst>
              <a:ext uri="{FF2B5EF4-FFF2-40B4-BE49-F238E27FC236}">
                <a16:creationId xmlns:a16="http://schemas.microsoft.com/office/drawing/2014/main" id="{21BE33B9-DE43-F142-7244-7A45BC09DF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id="{96ECEBB9-E6A7-A0B2-C033-1DFD283A820F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9297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9059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57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altLang="zh-CN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EBEB8B9-7EAB-3296-7007-8AA3D063CE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EBEB8B9-7EAB-3296-7007-8AA3D063CE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FD0DCC0-FA2D-712C-42FB-5107F0981568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201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360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212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C0B3542-5E83-D9E0-17F4-617D246DE408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020FE0E0-062A-50E3-D74F-7508F6274CFE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6E4F274-9441-661D-682C-5B6B0929ED82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8BF3487-EF30-236E-DED6-84343357E7A1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162F893-4698-1329-2611-532709A753D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89E4B11-13DA-06FD-CA94-FF310C5E08F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5D759C9-ACCD-EC78-B636-D7DBD271B791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3D66C84-1E65-4ED5-E848-4052AAC06114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883BCC2-570C-D851-5361-B926BE48B93B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AD68415-6868-6F12-61A6-CC4D0C807774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6AEA5860-44BF-16DE-29E2-7A37477761E1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C047C0A-3FB2-9ADC-7B0C-653B7CC0013D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373E0C2-5001-3831-772A-2A5F6F962F5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4405634-8BCC-A785-15AF-B4CC75BD564F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21C7527-5CCF-3DB1-5A74-E04B2C4DDFB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27F7A11-6D32-3C25-3E71-0CA8059A802D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B1D72F20-0B36-81AD-A139-93A482BEDFB1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5D3CF2D-65E7-BB11-5044-C051D03C5D9C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51C30EC-9545-6F93-07DC-E0CBBCCCF7C6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EE82C18-F886-3F7A-7F51-5D0F90F76315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7F184DC-EDEE-CDFB-037B-E60D404D8F8A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AEB8472-7A96-91A6-848A-CBD3B0CF1F82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55EE5526-51BB-E637-07D9-23609FB5B161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40C110B-8FBD-EF40-4682-323CE6B69AC7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12CE769-B48C-9E77-E673-126F9EA65BA6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1DABDC3-0B79-9ED4-8C67-C9B7BD4821F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D466B16C-6E06-E8F4-AA40-EB92BC923846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2577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9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84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59" progId="TCLayout.ActiveDocument.1">
                  <p:embed/>
                </p:oleObj>
              </mc:Choice>
              <mc:Fallback>
                <p:oleObj name="think-cell Slide" r:id="rId4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4A922D-2A65-E14B-23A0-0171883366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663" imgH="659" progId="TCLayout.ActiveDocument.1">
                  <p:embed/>
                </p:oleObj>
              </mc:Choice>
              <mc:Fallback>
                <p:oleObj name="Diapositiva think-cell" r:id="rId4" imgW="663" imgH="65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4A922D-2A65-E14B-23A0-0171883366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11174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340620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29512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DA2467D-455F-3351-F428-CC24B68165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DA2467D-455F-3351-F428-CC24B6816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53799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0D5AABB-5838-F704-DFB0-04022200F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0D5AABB-5838-F704-DFB0-04022200F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8615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41A134-FFD5-48E7-1462-E90A030131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041A134-FFD5-48E7-1462-E90A030131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160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4A3F8E-0F4E-DC4D-7C36-AC338EA016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4A3F8E-0F4E-DC4D-7C36-AC338EA016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929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AED0ED2-264C-F68E-5405-4F68BEFF3B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AED0ED2-264C-F68E-5405-4F68BEFF3B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35348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AE02C6A-DE64-CB5E-3737-52340B67DF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AE02C6A-DE64-CB5E-3737-52340B67D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068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 altLang="zh-CN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2666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9161EE-E9C6-3935-96CF-984F56371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9161EE-E9C6-3935-96CF-984F56371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797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DESIGN AND EFFECTS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 dirty="0">
                <a:solidFill>
                  <a:schemeClr val="tx1"/>
                </a:solidFill>
                <a:cs typeface="Arial" pitchFamily="34" charset="0"/>
              </a:rPr>
            </a:br>
            <a:endParaRPr lang="en-US" sz="800" dirty="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 dirty="0">
                <a:latin typeface="+mj-lt"/>
              </a:rPr>
              <a:t>Nilfisk presentation guidelines and tips</a:t>
            </a:r>
            <a:endParaRPr lang="en-US" sz="2800" dirty="0">
              <a:latin typeface="+mj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6E3B888-2EAA-DBE4-5F34-0B6ECCF4A1B5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14C3DB0-16FF-975B-62C5-DA14836B889C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7376E1-C306-A9CD-1401-51B6E45FD0CF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AB49C4-A602-70E2-95E8-7D24563DE7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C3B99BD-0858-6E89-5A70-A70B32087D9B}"/>
              </a:ext>
            </a:extLst>
          </p:cNvPr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48524C-317D-0033-6AE8-55C3E4005941}"/>
              </a:ext>
            </a:extLst>
          </p:cNvPr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1E2BD4-E8D6-24C1-0135-D3B5B559782C}"/>
              </a:ext>
            </a:extLst>
          </p:cNvPr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7C1BD0-D1CB-07FB-8B5E-CC2030A90E6C}"/>
              </a:ext>
            </a:extLst>
          </p:cNvPr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E423E0-EF86-78C5-B2A7-FDB44EBBA360}"/>
              </a:ext>
            </a:extLst>
          </p:cNvPr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E72458D-02B3-FBD8-C352-D432342646B2}"/>
              </a:ext>
            </a:extLst>
          </p:cNvPr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3F0242F-66F5-1BBF-5144-C7B79734B1E8}"/>
              </a:ext>
            </a:extLst>
          </p:cNvPr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5E154CB-51CD-3B12-D50F-34D463A1D1B7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AA0732B-99A6-C5DD-B404-876D7183002A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26BBA2AC-BBEC-D016-96FC-62A69B587B09}"/>
              </a:ext>
            </a:extLst>
          </p:cNvPr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661F627-4275-F726-2610-87078F9CB1D1}"/>
              </a:ext>
            </a:extLst>
          </p:cNvPr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D018363-D669-F847-569E-4CFCD2A99E34}"/>
              </a:ext>
            </a:extLst>
          </p:cNvPr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6814C1-57FB-2587-4E7E-34C87CC98A4C}"/>
              </a:ext>
            </a:extLst>
          </p:cNvPr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B5C36AF-2CD1-07DD-00E7-060D96848695}"/>
              </a:ext>
            </a:extLst>
          </p:cNvPr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FC11D6A-8EAB-C47D-AB0F-3D9B71F25666}"/>
              </a:ext>
            </a:extLst>
          </p:cNvPr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A751E60-6367-EDA2-8A42-C009D30BACDB}"/>
              </a:ext>
            </a:extLst>
          </p:cNvPr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6D95AEB-AFAA-9200-A16C-43635922E919}"/>
              </a:ext>
            </a:extLst>
          </p:cNvPr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6C24D5E-33AB-49A5-47E4-E72CEA105EDD}"/>
              </a:ext>
            </a:extLst>
          </p:cNvPr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23864A2-3C10-6467-AE49-23DD7C999BC4}"/>
              </a:ext>
            </a:extLst>
          </p:cNvPr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D9B46C7-1DA9-C5F2-7984-885022454F7B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41" name="Rektangel 22">
              <a:extLst>
                <a:ext uri="{FF2B5EF4-FFF2-40B4-BE49-F238E27FC236}">
                  <a16:creationId xmlns:a16="http://schemas.microsoft.com/office/drawing/2014/main" id="{9112F2C3-3AAC-18CA-C32B-E29CFDE7E8AD}"/>
                </a:ext>
              </a:extLst>
            </p:cNvPr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49" name="Rektangel 11">
              <a:extLst>
                <a:ext uri="{FF2B5EF4-FFF2-40B4-BE49-F238E27FC236}">
                  <a16:creationId xmlns:a16="http://schemas.microsoft.com/office/drawing/2014/main" id="{22F773A0-7CFB-938D-0E70-5BFA1790371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4" name="Rektangel 7">
              <a:extLst>
                <a:ext uri="{FF2B5EF4-FFF2-40B4-BE49-F238E27FC236}">
                  <a16:creationId xmlns:a16="http://schemas.microsoft.com/office/drawing/2014/main" id="{BF733BF5-199C-6F73-4C9F-7464EBB83A4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9" name="Rektangel 9">
              <a:extLst>
                <a:ext uri="{FF2B5EF4-FFF2-40B4-BE49-F238E27FC236}">
                  <a16:creationId xmlns:a16="http://schemas.microsoft.com/office/drawing/2014/main" id="{171AFE6D-5968-09A8-DB77-3139BAB3A40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7FBC4829-C356-3964-A0D5-4F8DC5440270}"/>
              </a:ext>
            </a:extLst>
          </p:cNvPr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61" name="Rektangel 22">
            <a:extLst>
              <a:ext uri="{FF2B5EF4-FFF2-40B4-BE49-F238E27FC236}">
                <a16:creationId xmlns:a16="http://schemas.microsoft.com/office/drawing/2014/main" id="{891FC215-EDA2-92F3-21A9-A9BB87C02E3D}"/>
              </a:ext>
            </a:extLst>
          </p:cNvPr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52603AA-EDF3-2866-3734-51A2ED22C4BD}"/>
              </a:ext>
            </a:extLst>
          </p:cNvPr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65" name="Rektangel 9">
            <a:extLst>
              <a:ext uri="{FF2B5EF4-FFF2-40B4-BE49-F238E27FC236}">
                <a16:creationId xmlns:a16="http://schemas.microsoft.com/office/drawing/2014/main" id="{C8E1A365-F24A-37F8-8607-E8E2D1996D5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1AABDBA-88A6-8358-B7E8-70B6B2D2F270}"/>
              </a:ext>
            </a:extLst>
          </p:cNvPr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67" name="Content Placeholder 5">
            <a:extLst>
              <a:ext uri="{FF2B5EF4-FFF2-40B4-BE49-F238E27FC236}">
                <a16:creationId xmlns:a16="http://schemas.microsoft.com/office/drawing/2014/main" id="{EF5AAA08-BA71-EEB7-744A-5FAA54A67E73}"/>
              </a:ext>
            </a:extLst>
          </p:cNvPr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A4CB5B6-664A-03D9-C0C1-15FEDC411814}"/>
              </a:ext>
            </a:extLst>
          </p:cNvPr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itle 1">
            <a:extLst>
              <a:ext uri="{FF2B5EF4-FFF2-40B4-BE49-F238E27FC236}">
                <a16:creationId xmlns:a16="http://schemas.microsoft.com/office/drawing/2014/main" id="{5E8E20BD-5F1E-7F02-A963-D5649C6A723D}"/>
              </a:ext>
            </a:extLst>
          </p:cNvPr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9" name="Rektangel 22">
            <a:extLst>
              <a:ext uri="{FF2B5EF4-FFF2-40B4-BE49-F238E27FC236}">
                <a16:creationId xmlns:a16="http://schemas.microsoft.com/office/drawing/2014/main" id="{DD95F606-9B58-3AD5-E60F-51EDBA5CF3CD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97E7820-9194-473C-7640-A158471F6989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88" name="Rektangel 9">
            <a:extLst>
              <a:ext uri="{FF2B5EF4-FFF2-40B4-BE49-F238E27FC236}">
                <a16:creationId xmlns:a16="http://schemas.microsoft.com/office/drawing/2014/main" id="{4CD825A1-C09F-4F36-5CA0-EE2087FABCD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9CC6B32-967D-3B69-5D2E-31824B2E955E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8" name="Rektangel 9">
            <a:extLst>
              <a:ext uri="{FF2B5EF4-FFF2-40B4-BE49-F238E27FC236}">
                <a16:creationId xmlns:a16="http://schemas.microsoft.com/office/drawing/2014/main" id="{3A7ABE8C-9B2B-3D50-C927-E392EFD0F99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5BC7F7F6-057D-AE43-9C2D-0C6044BB11EB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0" name="Picture 99">
            <a:extLst>
              <a:ext uri="{FF2B5EF4-FFF2-40B4-BE49-F238E27FC236}">
                <a16:creationId xmlns:a16="http://schemas.microsoft.com/office/drawing/2014/main" id="{B5CAA49A-06B6-66D1-840E-34D66A8924F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BA771402-F8AB-C283-EBB7-0C1EE17E86C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04" name="TextBox 103">
            <a:extLst>
              <a:ext uri="{FF2B5EF4-FFF2-40B4-BE49-F238E27FC236}">
                <a16:creationId xmlns:a16="http://schemas.microsoft.com/office/drawing/2014/main" id="{C4A85727-3AB6-8F14-31B4-14B30843221C}"/>
              </a:ext>
            </a:extLst>
          </p:cNvPr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589015E9-88D8-B76C-E58B-A81042EF46B3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5D701FA-7E78-7C8F-E0E7-65844A6231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1D3F95C6-F243-3450-3855-B57CC289EECC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1" name="Picture 120">
            <a:extLst>
              <a:ext uri="{FF2B5EF4-FFF2-40B4-BE49-F238E27FC236}">
                <a16:creationId xmlns:a16="http://schemas.microsoft.com/office/drawing/2014/main" id="{2BA84FC3-C560-59A8-1389-00AE45B6CF8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22" name="Group 121">
            <a:extLst>
              <a:ext uri="{FF2B5EF4-FFF2-40B4-BE49-F238E27FC236}">
                <a16:creationId xmlns:a16="http://schemas.microsoft.com/office/drawing/2014/main" id="{305ED78A-E724-5E2E-FC9C-FD3E46575704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5CD44C0C-39B0-BFB4-830C-3BDE4B9249F1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A3DC8E64-F18F-B485-E197-9D2C34ABD239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6" name="TextBox 125">
            <a:extLst>
              <a:ext uri="{FF2B5EF4-FFF2-40B4-BE49-F238E27FC236}">
                <a16:creationId xmlns:a16="http://schemas.microsoft.com/office/drawing/2014/main" id="{CDBE88F0-5C25-9BBA-4A76-83FF96154152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D2BCA86-A4B8-DBE4-BCE6-34639F6FB49F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A0B1D1D5-9E65-5FD0-5374-BCD7BD82F197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67C529AB-7556-92E5-B17F-E988A3FCB72E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36" name="Picture 135">
            <a:extLst>
              <a:ext uri="{FF2B5EF4-FFF2-40B4-BE49-F238E27FC236}">
                <a16:creationId xmlns:a16="http://schemas.microsoft.com/office/drawing/2014/main" id="{AD811FD7-9BCF-B280-8142-CE58267FDC6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37" name="Oval 136">
            <a:extLst>
              <a:ext uri="{FF2B5EF4-FFF2-40B4-BE49-F238E27FC236}">
                <a16:creationId xmlns:a16="http://schemas.microsoft.com/office/drawing/2014/main" id="{4D21573C-C1BE-31D0-FD92-CF3C88B794D9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38" name="Rectangle: Rounded Corners 137">
            <a:extLst>
              <a:ext uri="{FF2B5EF4-FFF2-40B4-BE49-F238E27FC236}">
                <a16:creationId xmlns:a16="http://schemas.microsoft.com/office/drawing/2014/main" id="{7A755CB7-B96F-D424-F879-25679B15199B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6464F6B8-8838-AFA7-184F-9CCEC617D362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8F5A2070-A47F-C4B7-B2E7-CFE376CD4C2F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392DC230-3357-C774-7BA0-D22917CBDD6F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20F5F5F9-64FD-AB9C-6546-2C0D1BD38E2C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43" name="Picture 142">
            <a:extLst>
              <a:ext uri="{FF2B5EF4-FFF2-40B4-BE49-F238E27FC236}">
                <a16:creationId xmlns:a16="http://schemas.microsoft.com/office/drawing/2014/main" id="{6140B49F-0E58-485F-4F26-1B11B80FF9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144" name="TextBox 143">
            <a:extLst>
              <a:ext uri="{FF2B5EF4-FFF2-40B4-BE49-F238E27FC236}">
                <a16:creationId xmlns:a16="http://schemas.microsoft.com/office/drawing/2014/main" id="{B1CF32F8-B357-D9CD-8084-999437F06930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28735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21" Type="http://schemas.openxmlformats.org/officeDocument/2006/relationships/tags" Target="../tags/tag14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image" Target="../media/image10.png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oleObject" Target="../embeddings/oleObject8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2.xml"/><Relationship Id="rId21" Type="http://schemas.openxmlformats.org/officeDocument/2006/relationships/oleObject" Target="../embeddings/oleObject8.bin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tags" Target="../tags/tag34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image" Target="../media/image10.png"/><Relationship Id="rId10" Type="http://schemas.openxmlformats.org/officeDocument/2006/relationships/slideLayout" Target="../slideLayouts/slideLayout49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72511919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3" imgW="270" imgH="270" progId="TCLayout.ActiveDocument.1">
                  <p:embed/>
                </p:oleObj>
              </mc:Choice>
              <mc:Fallback>
                <p:oleObj name="Diapositiva think-cell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  <p:sldLayoutId id="2147483738" r:id="rId2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4" userDrawn="1">
          <p15:clr>
            <a:srgbClr val="F26B43"/>
          </p15:clr>
        </p15:guide>
        <p15:guide id="2" pos="304" userDrawn="1">
          <p15:clr>
            <a:srgbClr val="F26B43"/>
          </p15:clr>
        </p15:guide>
        <p15:guide id="3" orient="horz" pos="3952" userDrawn="1">
          <p15:clr>
            <a:srgbClr val="F26B43"/>
          </p15:clr>
        </p15:guide>
        <p15:guide id="4" pos="7376" userDrawn="1">
          <p15:clr>
            <a:srgbClr val="F26B43"/>
          </p15:clr>
        </p15:guide>
        <p15:guide id="5" orient="horz" pos="888" userDrawn="1">
          <p15:clr>
            <a:srgbClr val="F26B43"/>
          </p15:clr>
        </p15:guide>
        <p15:guide id="6" pos="1320" userDrawn="1">
          <p15:clr>
            <a:srgbClr val="F26B43"/>
          </p15:clr>
        </p15:guide>
        <p15:guide id="7" pos="1456" userDrawn="1">
          <p15:clr>
            <a:srgbClr val="F26B43"/>
          </p15:clr>
        </p15:guide>
        <p15:guide id="8" pos="2544" userDrawn="1">
          <p15:clr>
            <a:srgbClr val="F26B43"/>
          </p15:clr>
        </p15:guide>
        <p15:guide id="9" pos="2680" userDrawn="1">
          <p15:clr>
            <a:srgbClr val="F26B43"/>
          </p15:clr>
        </p15:guide>
        <p15:guide id="10" pos="3768" userDrawn="1">
          <p15:clr>
            <a:srgbClr val="F26B43"/>
          </p15:clr>
        </p15:guide>
        <p15:guide id="11" pos="3904" userDrawn="1">
          <p15:clr>
            <a:srgbClr val="F26B43"/>
          </p15:clr>
        </p15:guide>
        <p15:guide id="12" pos="5000" userDrawn="1">
          <p15:clr>
            <a:srgbClr val="F26B43"/>
          </p15:clr>
        </p15:guide>
        <p15:guide id="13" pos="5136" userDrawn="1">
          <p15:clr>
            <a:srgbClr val="F26B43"/>
          </p15:clr>
        </p15:guide>
        <p15:guide id="14" pos="6224" userDrawn="1">
          <p15:clr>
            <a:srgbClr val="F26B43"/>
          </p15:clr>
        </p15:guide>
        <p15:guide id="15" pos="63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CBD9B98-760B-94B5-82CC-084D9D27B53B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08273B1-620C-0EB5-B0FD-2F98312D4EA1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8726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6" orient="horz" pos="304" userDrawn="1">
          <p15:clr>
            <a:srgbClr val="F26B43"/>
          </p15:clr>
        </p15:guide>
        <p15:guide id="37" pos="304" userDrawn="1">
          <p15:clr>
            <a:srgbClr val="F26B43"/>
          </p15:clr>
        </p15:guide>
        <p15:guide id="38" orient="horz" pos="3952" userDrawn="1">
          <p15:clr>
            <a:srgbClr val="F26B43"/>
          </p15:clr>
        </p15:guide>
        <p15:guide id="39" pos="7376" userDrawn="1">
          <p15:clr>
            <a:srgbClr val="F26B43"/>
          </p15:clr>
        </p15:guide>
        <p15:guide id="40" orient="horz" pos="888" userDrawn="1">
          <p15:clr>
            <a:srgbClr val="F26B43"/>
          </p15:clr>
        </p15:guide>
        <p15:guide id="41" pos="1320" userDrawn="1">
          <p15:clr>
            <a:srgbClr val="F26B43"/>
          </p15:clr>
        </p15:guide>
        <p15:guide id="42" pos="1456" userDrawn="1">
          <p15:clr>
            <a:srgbClr val="F26B43"/>
          </p15:clr>
        </p15:guide>
        <p15:guide id="43" pos="2544" userDrawn="1">
          <p15:clr>
            <a:srgbClr val="F26B43"/>
          </p15:clr>
        </p15:guide>
        <p15:guide id="44" pos="2680" userDrawn="1">
          <p15:clr>
            <a:srgbClr val="F26B43"/>
          </p15:clr>
        </p15:guide>
        <p15:guide id="45" pos="3768" userDrawn="1">
          <p15:clr>
            <a:srgbClr val="F26B43"/>
          </p15:clr>
        </p15:guide>
        <p15:guide id="46" pos="3904" userDrawn="1">
          <p15:clr>
            <a:srgbClr val="F26B43"/>
          </p15:clr>
        </p15:guide>
        <p15:guide id="47" pos="5000" userDrawn="1">
          <p15:clr>
            <a:srgbClr val="F26B43"/>
          </p15:clr>
        </p15:guide>
        <p15:guide id="48" pos="5136" userDrawn="1">
          <p15:clr>
            <a:srgbClr val="F26B43"/>
          </p15:clr>
        </p15:guide>
        <p15:guide id="49" pos="6224" userDrawn="1">
          <p15:clr>
            <a:srgbClr val="F26B43"/>
          </p15:clr>
        </p15:guide>
        <p15:guide id="50" pos="636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1/2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321856F2-C6F6-B41C-CE00-612CBA3316EB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7EDC562-36CC-9BD6-3BE3-0B907AF12992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5867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6" orient="horz" pos="304" userDrawn="1">
          <p15:clr>
            <a:srgbClr val="F26B43"/>
          </p15:clr>
        </p15:guide>
        <p15:guide id="37" pos="304" userDrawn="1">
          <p15:clr>
            <a:srgbClr val="F26B43"/>
          </p15:clr>
        </p15:guide>
        <p15:guide id="38" orient="horz" pos="3952" userDrawn="1">
          <p15:clr>
            <a:srgbClr val="F26B43"/>
          </p15:clr>
        </p15:guide>
        <p15:guide id="39" pos="7376" userDrawn="1">
          <p15:clr>
            <a:srgbClr val="F26B43"/>
          </p15:clr>
        </p15:guide>
        <p15:guide id="40" orient="horz" pos="888" userDrawn="1">
          <p15:clr>
            <a:srgbClr val="F26B43"/>
          </p15:clr>
        </p15:guide>
        <p15:guide id="41" pos="1320" userDrawn="1">
          <p15:clr>
            <a:srgbClr val="F26B43"/>
          </p15:clr>
        </p15:guide>
        <p15:guide id="42" pos="1456" userDrawn="1">
          <p15:clr>
            <a:srgbClr val="F26B43"/>
          </p15:clr>
        </p15:guide>
        <p15:guide id="43" pos="2544" userDrawn="1">
          <p15:clr>
            <a:srgbClr val="F26B43"/>
          </p15:clr>
        </p15:guide>
        <p15:guide id="44" pos="2680" userDrawn="1">
          <p15:clr>
            <a:srgbClr val="F26B43"/>
          </p15:clr>
        </p15:guide>
        <p15:guide id="45" pos="3768" userDrawn="1">
          <p15:clr>
            <a:srgbClr val="F26B43"/>
          </p15:clr>
        </p15:guide>
        <p15:guide id="46" pos="3904" userDrawn="1">
          <p15:clr>
            <a:srgbClr val="F26B43"/>
          </p15:clr>
        </p15:guide>
        <p15:guide id="47" pos="5000" userDrawn="1">
          <p15:clr>
            <a:srgbClr val="F26B43"/>
          </p15:clr>
        </p15:guide>
        <p15:guide id="48" pos="5136" userDrawn="1">
          <p15:clr>
            <a:srgbClr val="F26B43"/>
          </p15:clr>
        </p15:guide>
        <p15:guide id="49" pos="6224" userDrawn="1">
          <p15:clr>
            <a:srgbClr val="F26B43"/>
          </p15:clr>
        </p15:guide>
        <p15:guide id="50" pos="63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customXml" Target="../ink/ink1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53.x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10.png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91.png"/><Relationship Id="rId671" Type="http://schemas.openxmlformats.org/officeDocument/2006/relationships/customXml" Target="../ink/ink336.xml"/><Relationship Id="rId21" Type="http://schemas.openxmlformats.org/officeDocument/2006/relationships/image" Target="../media/image43.png"/><Relationship Id="rId324" Type="http://schemas.openxmlformats.org/officeDocument/2006/relationships/image" Target="../media/image194.png"/><Relationship Id="rId531" Type="http://schemas.openxmlformats.org/officeDocument/2006/relationships/customXml" Target="../ink/ink266.xml"/><Relationship Id="rId629" Type="http://schemas.openxmlformats.org/officeDocument/2006/relationships/customXml" Target="../ink/ink315.xml"/><Relationship Id="rId170" Type="http://schemas.openxmlformats.org/officeDocument/2006/relationships/image" Target="../media/image117.png"/><Relationship Id="rId268" Type="http://schemas.openxmlformats.org/officeDocument/2006/relationships/image" Target="../media/image166.png"/><Relationship Id="rId475" Type="http://schemas.openxmlformats.org/officeDocument/2006/relationships/customXml" Target="../ink/ink238.xml"/><Relationship Id="rId682" Type="http://schemas.openxmlformats.org/officeDocument/2006/relationships/image" Target="../media/image373.png"/><Relationship Id="rId32" Type="http://schemas.openxmlformats.org/officeDocument/2006/relationships/customXml" Target="../ink/ink16.xml"/><Relationship Id="rId128" Type="http://schemas.openxmlformats.org/officeDocument/2006/relationships/customXml" Target="../ink/ink64.xml"/><Relationship Id="rId335" Type="http://schemas.openxmlformats.org/officeDocument/2006/relationships/customXml" Target="../ink/ink168.xml"/><Relationship Id="rId542" Type="http://schemas.openxmlformats.org/officeDocument/2006/relationships/image" Target="../media/image303.png"/><Relationship Id="rId181" Type="http://schemas.openxmlformats.org/officeDocument/2006/relationships/customXml" Target="../ink/ink91.xml"/><Relationship Id="rId402" Type="http://schemas.openxmlformats.org/officeDocument/2006/relationships/image" Target="../media/image233.png"/><Relationship Id="rId279" Type="http://schemas.openxmlformats.org/officeDocument/2006/relationships/customXml" Target="../ink/ink140.xml"/><Relationship Id="rId486" Type="http://schemas.openxmlformats.org/officeDocument/2006/relationships/image" Target="../media/image275.png"/><Relationship Id="rId693" Type="http://schemas.openxmlformats.org/officeDocument/2006/relationships/customXml" Target="../ink/ink347.xml"/><Relationship Id="rId707" Type="http://schemas.openxmlformats.org/officeDocument/2006/relationships/image" Target="../media/image388.png"/><Relationship Id="rId43" Type="http://schemas.openxmlformats.org/officeDocument/2006/relationships/image" Target="../media/image54.png"/><Relationship Id="rId139" Type="http://schemas.openxmlformats.org/officeDocument/2006/relationships/customXml" Target="../ink/ink70.xml"/><Relationship Id="rId346" Type="http://schemas.openxmlformats.org/officeDocument/2006/relationships/image" Target="../media/image205.png"/><Relationship Id="rId553" Type="http://schemas.openxmlformats.org/officeDocument/2006/relationships/customXml" Target="../ink/ink277.xml"/><Relationship Id="rId192" Type="http://schemas.openxmlformats.org/officeDocument/2006/relationships/image" Target="../media/image128.png"/><Relationship Id="rId206" Type="http://schemas.openxmlformats.org/officeDocument/2006/relationships/image" Target="../media/image135.png"/><Relationship Id="rId413" Type="http://schemas.openxmlformats.org/officeDocument/2006/relationships/customXml" Target="../ink/ink207.xml"/><Relationship Id="rId497" Type="http://schemas.openxmlformats.org/officeDocument/2006/relationships/customXml" Target="../ink/ink249.xml"/><Relationship Id="rId620" Type="http://schemas.openxmlformats.org/officeDocument/2006/relationships/image" Target="../media/image342.png"/><Relationship Id="rId718" Type="http://schemas.openxmlformats.org/officeDocument/2006/relationships/customXml" Target="../ink/ink358.xml"/><Relationship Id="rId357" Type="http://schemas.openxmlformats.org/officeDocument/2006/relationships/customXml" Target="../ink/ink179.xml"/><Relationship Id="rId54" Type="http://schemas.openxmlformats.org/officeDocument/2006/relationships/customXml" Target="../ink/ink27.xml"/><Relationship Id="rId217" Type="http://schemas.openxmlformats.org/officeDocument/2006/relationships/customXml" Target="../ink/ink109.xml"/><Relationship Id="rId564" Type="http://schemas.openxmlformats.org/officeDocument/2006/relationships/image" Target="../media/image314.png"/><Relationship Id="rId424" Type="http://schemas.openxmlformats.org/officeDocument/2006/relationships/image" Target="../media/image244.png"/><Relationship Id="rId631" Type="http://schemas.openxmlformats.org/officeDocument/2006/relationships/customXml" Target="../ink/ink316.xml"/><Relationship Id="rId729" Type="http://schemas.openxmlformats.org/officeDocument/2006/relationships/image" Target="../media/image41.jpeg"/><Relationship Id="rId270" Type="http://schemas.openxmlformats.org/officeDocument/2006/relationships/image" Target="../media/image167.png"/><Relationship Id="rId65" Type="http://schemas.openxmlformats.org/officeDocument/2006/relationships/image" Target="../media/image65.png"/><Relationship Id="rId130" Type="http://schemas.openxmlformats.org/officeDocument/2006/relationships/customXml" Target="../ink/ink65.xml"/><Relationship Id="rId368" Type="http://schemas.openxmlformats.org/officeDocument/2006/relationships/image" Target="../media/image216.png"/><Relationship Id="rId575" Type="http://schemas.openxmlformats.org/officeDocument/2006/relationships/customXml" Target="../ink/ink288.xml"/><Relationship Id="rId228" Type="http://schemas.openxmlformats.org/officeDocument/2006/relationships/image" Target="../media/image146.png"/><Relationship Id="rId435" Type="http://schemas.openxmlformats.org/officeDocument/2006/relationships/customXml" Target="../ink/ink218.xml"/><Relationship Id="rId642" Type="http://schemas.openxmlformats.org/officeDocument/2006/relationships/image" Target="../media/image353.png"/><Relationship Id="rId281" Type="http://schemas.openxmlformats.org/officeDocument/2006/relationships/customXml" Target="../ink/ink141.xml"/><Relationship Id="rId502" Type="http://schemas.openxmlformats.org/officeDocument/2006/relationships/image" Target="../media/image283.png"/><Relationship Id="rId76" Type="http://schemas.openxmlformats.org/officeDocument/2006/relationships/customXml" Target="../ink/ink38.xml"/><Relationship Id="rId141" Type="http://schemas.openxmlformats.org/officeDocument/2006/relationships/customXml" Target="../ink/ink71.xml"/><Relationship Id="rId379" Type="http://schemas.openxmlformats.org/officeDocument/2006/relationships/customXml" Target="../ink/ink190.xml"/><Relationship Id="rId586" Type="http://schemas.openxmlformats.org/officeDocument/2006/relationships/image" Target="../media/image325.png"/><Relationship Id="rId7" Type="http://schemas.openxmlformats.org/officeDocument/2006/relationships/image" Target="../media/image3610.png"/><Relationship Id="rId239" Type="http://schemas.openxmlformats.org/officeDocument/2006/relationships/customXml" Target="../ink/ink120.xml"/><Relationship Id="rId446" Type="http://schemas.openxmlformats.org/officeDocument/2006/relationships/image" Target="../media/image255.png"/><Relationship Id="rId653" Type="http://schemas.openxmlformats.org/officeDocument/2006/relationships/customXml" Target="../ink/ink327.xml"/><Relationship Id="rId292" Type="http://schemas.openxmlformats.org/officeDocument/2006/relationships/image" Target="../media/image178.png"/><Relationship Id="rId306" Type="http://schemas.openxmlformats.org/officeDocument/2006/relationships/image" Target="../media/image185.png"/><Relationship Id="rId87" Type="http://schemas.openxmlformats.org/officeDocument/2006/relationships/image" Target="../media/image76.png"/><Relationship Id="rId513" Type="http://schemas.openxmlformats.org/officeDocument/2006/relationships/customXml" Target="../ink/ink257.xml"/><Relationship Id="rId597" Type="http://schemas.openxmlformats.org/officeDocument/2006/relationships/customXml" Target="../ink/ink299.xml"/><Relationship Id="rId720" Type="http://schemas.openxmlformats.org/officeDocument/2006/relationships/customXml" Target="../ink/ink359.xml"/><Relationship Id="rId152" Type="http://schemas.openxmlformats.org/officeDocument/2006/relationships/image" Target="../media/image108.png"/><Relationship Id="rId457" Type="http://schemas.openxmlformats.org/officeDocument/2006/relationships/customXml" Target="../ink/ink229.xml"/><Relationship Id="rId664" Type="http://schemas.openxmlformats.org/officeDocument/2006/relationships/image" Target="../media/image364.png"/><Relationship Id="rId14" Type="http://schemas.openxmlformats.org/officeDocument/2006/relationships/customXml" Target="../ink/ink7.xml"/><Relationship Id="rId317" Type="http://schemas.openxmlformats.org/officeDocument/2006/relationships/customXml" Target="../ink/ink159.xml"/><Relationship Id="rId524" Type="http://schemas.openxmlformats.org/officeDocument/2006/relationships/image" Target="../media/image294.png"/><Relationship Id="rId98" Type="http://schemas.openxmlformats.org/officeDocument/2006/relationships/customXml" Target="../ink/ink49.xml"/><Relationship Id="rId163" Type="http://schemas.openxmlformats.org/officeDocument/2006/relationships/customXml" Target="../ink/ink82.xml"/><Relationship Id="rId370" Type="http://schemas.openxmlformats.org/officeDocument/2006/relationships/image" Target="../media/image217.png"/><Relationship Id="rId230" Type="http://schemas.openxmlformats.org/officeDocument/2006/relationships/image" Target="../media/image147.png"/><Relationship Id="rId468" Type="http://schemas.openxmlformats.org/officeDocument/2006/relationships/image" Target="../media/image266.png"/><Relationship Id="rId675" Type="http://schemas.openxmlformats.org/officeDocument/2006/relationships/customXml" Target="../ink/ink338.xml"/><Relationship Id="rId25" Type="http://schemas.openxmlformats.org/officeDocument/2006/relationships/image" Target="../media/image45.png"/><Relationship Id="rId328" Type="http://schemas.openxmlformats.org/officeDocument/2006/relationships/image" Target="../media/image196.png"/><Relationship Id="rId535" Type="http://schemas.openxmlformats.org/officeDocument/2006/relationships/customXml" Target="../ink/ink268.xml"/><Relationship Id="rId174" Type="http://schemas.openxmlformats.org/officeDocument/2006/relationships/image" Target="../media/image119.png"/><Relationship Id="rId381" Type="http://schemas.openxmlformats.org/officeDocument/2006/relationships/customXml" Target="../ink/ink191.xml"/><Relationship Id="rId602" Type="http://schemas.openxmlformats.org/officeDocument/2006/relationships/image" Target="../media/image333.png"/><Relationship Id="rId241" Type="http://schemas.openxmlformats.org/officeDocument/2006/relationships/customXml" Target="../ink/ink121.xml"/><Relationship Id="rId479" Type="http://schemas.openxmlformats.org/officeDocument/2006/relationships/customXml" Target="../ink/ink240.xml"/><Relationship Id="rId686" Type="http://schemas.openxmlformats.org/officeDocument/2006/relationships/image" Target="../media/image375.png"/><Relationship Id="rId36" Type="http://schemas.openxmlformats.org/officeDocument/2006/relationships/customXml" Target="../ink/ink18.xml"/><Relationship Id="rId339" Type="http://schemas.openxmlformats.org/officeDocument/2006/relationships/customXml" Target="../ink/ink170.xml"/><Relationship Id="rId546" Type="http://schemas.openxmlformats.org/officeDocument/2006/relationships/image" Target="../media/image305.png"/><Relationship Id="rId101" Type="http://schemas.openxmlformats.org/officeDocument/2006/relationships/image" Target="../media/image83.png"/><Relationship Id="rId185" Type="http://schemas.openxmlformats.org/officeDocument/2006/relationships/customXml" Target="../ink/ink93.xml"/><Relationship Id="rId406" Type="http://schemas.openxmlformats.org/officeDocument/2006/relationships/image" Target="../media/image235.png"/><Relationship Id="rId392" Type="http://schemas.openxmlformats.org/officeDocument/2006/relationships/image" Target="../media/image228.png"/><Relationship Id="rId613" Type="http://schemas.openxmlformats.org/officeDocument/2006/relationships/customXml" Target="../ink/ink307.xml"/><Relationship Id="rId697" Type="http://schemas.openxmlformats.org/officeDocument/2006/relationships/image" Target="../media/image383.png"/><Relationship Id="rId252" Type="http://schemas.openxmlformats.org/officeDocument/2006/relationships/image" Target="../media/image158.png"/><Relationship Id="rId47" Type="http://schemas.openxmlformats.org/officeDocument/2006/relationships/image" Target="../media/image56.png"/><Relationship Id="rId112" Type="http://schemas.openxmlformats.org/officeDocument/2006/relationships/customXml" Target="../ink/ink56.xml"/><Relationship Id="rId557" Type="http://schemas.openxmlformats.org/officeDocument/2006/relationships/customXml" Target="../ink/ink279.xml"/><Relationship Id="rId196" Type="http://schemas.openxmlformats.org/officeDocument/2006/relationships/image" Target="../media/image130.png"/><Relationship Id="rId417" Type="http://schemas.openxmlformats.org/officeDocument/2006/relationships/customXml" Target="../ink/ink209.xml"/><Relationship Id="rId624" Type="http://schemas.openxmlformats.org/officeDocument/2006/relationships/image" Target="../media/image344.png"/><Relationship Id="rId263" Type="http://schemas.openxmlformats.org/officeDocument/2006/relationships/customXml" Target="../ink/ink132.xml"/><Relationship Id="rId470" Type="http://schemas.openxmlformats.org/officeDocument/2006/relationships/image" Target="../media/image267.png"/><Relationship Id="rId58" Type="http://schemas.openxmlformats.org/officeDocument/2006/relationships/customXml" Target="../ink/ink29.xml"/><Relationship Id="rId123" Type="http://schemas.openxmlformats.org/officeDocument/2006/relationships/image" Target="../media/image94.png"/><Relationship Id="rId330" Type="http://schemas.openxmlformats.org/officeDocument/2006/relationships/image" Target="../media/image197.png"/><Relationship Id="rId568" Type="http://schemas.openxmlformats.org/officeDocument/2006/relationships/image" Target="../media/image316.png"/><Relationship Id="rId428" Type="http://schemas.openxmlformats.org/officeDocument/2006/relationships/image" Target="../media/image246.png"/><Relationship Id="rId635" Type="http://schemas.openxmlformats.org/officeDocument/2006/relationships/customXml" Target="../ink/ink318.xml"/><Relationship Id="rId274" Type="http://schemas.openxmlformats.org/officeDocument/2006/relationships/image" Target="../media/image169.png"/><Relationship Id="rId481" Type="http://schemas.openxmlformats.org/officeDocument/2006/relationships/customXml" Target="../ink/ink241.xml"/><Relationship Id="rId702" Type="http://schemas.openxmlformats.org/officeDocument/2006/relationships/customXml" Target="../ink/ink350.xml"/><Relationship Id="rId69" Type="http://schemas.openxmlformats.org/officeDocument/2006/relationships/image" Target="../media/image67.png"/><Relationship Id="rId134" Type="http://schemas.openxmlformats.org/officeDocument/2006/relationships/image" Target="../media/image99.png"/><Relationship Id="rId579" Type="http://schemas.openxmlformats.org/officeDocument/2006/relationships/customXml" Target="../ink/ink290.xml"/><Relationship Id="rId341" Type="http://schemas.openxmlformats.org/officeDocument/2006/relationships/customXml" Target="../ink/ink171.xml"/><Relationship Id="rId439" Type="http://schemas.openxmlformats.org/officeDocument/2006/relationships/customXml" Target="../ink/ink220.xml"/><Relationship Id="rId646" Type="http://schemas.openxmlformats.org/officeDocument/2006/relationships/image" Target="../media/image355.png"/><Relationship Id="rId201" Type="http://schemas.openxmlformats.org/officeDocument/2006/relationships/customXml" Target="../ink/ink101.xml"/><Relationship Id="rId285" Type="http://schemas.openxmlformats.org/officeDocument/2006/relationships/customXml" Target="../ink/ink143.xml"/><Relationship Id="rId506" Type="http://schemas.openxmlformats.org/officeDocument/2006/relationships/image" Target="../media/image285.png"/><Relationship Id="rId492" Type="http://schemas.openxmlformats.org/officeDocument/2006/relationships/image" Target="../media/image278.png"/><Relationship Id="rId713" Type="http://schemas.openxmlformats.org/officeDocument/2006/relationships/image" Target="../media/image391.png"/><Relationship Id="rId145" Type="http://schemas.openxmlformats.org/officeDocument/2006/relationships/customXml" Target="../ink/ink73.xml"/><Relationship Id="rId352" Type="http://schemas.openxmlformats.org/officeDocument/2006/relationships/image" Target="../media/image208.png"/><Relationship Id="rId212" Type="http://schemas.openxmlformats.org/officeDocument/2006/relationships/image" Target="../media/image138.png"/><Relationship Id="rId657" Type="http://schemas.openxmlformats.org/officeDocument/2006/relationships/customXml" Target="../ink/ink329.xml"/><Relationship Id="rId296" Type="http://schemas.openxmlformats.org/officeDocument/2006/relationships/image" Target="../media/image180.png"/><Relationship Id="rId517" Type="http://schemas.openxmlformats.org/officeDocument/2006/relationships/customXml" Target="../ink/ink259.xml"/><Relationship Id="rId724" Type="http://schemas.openxmlformats.org/officeDocument/2006/relationships/customXml" Target="../ink/ink361.xml"/><Relationship Id="rId60" Type="http://schemas.openxmlformats.org/officeDocument/2006/relationships/customXml" Target="../ink/ink30.xml"/><Relationship Id="rId156" Type="http://schemas.openxmlformats.org/officeDocument/2006/relationships/image" Target="../media/image110.png"/><Relationship Id="rId363" Type="http://schemas.openxmlformats.org/officeDocument/2006/relationships/customXml" Target="../ink/ink182.xml"/><Relationship Id="rId570" Type="http://schemas.openxmlformats.org/officeDocument/2006/relationships/image" Target="../media/image317.png"/><Relationship Id="rId223" Type="http://schemas.openxmlformats.org/officeDocument/2006/relationships/customXml" Target="../ink/ink112.xml"/><Relationship Id="rId430" Type="http://schemas.openxmlformats.org/officeDocument/2006/relationships/image" Target="../media/image247.png"/><Relationship Id="rId668" Type="http://schemas.openxmlformats.org/officeDocument/2006/relationships/image" Target="../media/image366.png"/><Relationship Id="rId18" Type="http://schemas.openxmlformats.org/officeDocument/2006/relationships/customXml" Target="../ink/ink9.xml"/><Relationship Id="rId528" Type="http://schemas.openxmlformats.org/officeDocument/2006/relationships/image" Target="../media/image296.png"/><Relationship Id="rId167" Type="http://schemas.openxmlformats.org/officeDocument/2006/relationships/customXml" Target="../ink/ink84.xml"/><Relationship Id="rId374" Type="http://schemas.openxmlformats.org/officeDocument/2006/relationships/image" Target="../media/image219.png"/><Relationship Id="rId581" Type="http://schemas.openxmlformats.org/officeDocument/2006/relationships/customXml" Target="../ink/ink291.xml"/><Relationship Id="rId71" Type="http://schemas.openxmlformats.org/officeDocument/2006/relationships/image" Target="../media/image68.png"/><Relationship Id="rId234" Type="http://schemas.openxmlformats.org/officeDocument/2006/relationships/image" Target="../media/image149.png"/><Relationship Id="rId679" Type="http://schemas.openxmlformats.org/officeDocument/2006/relationships/customXml" Target="../ink/ink340.xml"/><Relationship Id="rId2" Type="http://schemas.openxmlformats.org/officeDocument/2006/relationships/notesSlide" Target="../notesSlides/notesSlide6.xml"/><Relationship Id="rId29" Type="http://schemas.openxmlformats.org/officeDocument/2006/relationships/image" Target="../media/image47.png"/><Relationship Id="rId441" Type="http://schemas.openxmlformats.org/officeDocument/2006/relationships/customXml" Target="../ink/ink221.xml"/><Relationship Id="rId539" Type="http://schemas.openxmlformats.org/officeDocument/2006/relationships/customXml" Target="../ink/ink270.xml"/><Relationship Id="rId178" Type="http://schemas.openxmlformats.org/officeDocument/2006/relationships/image" Target="../media/image121.png"/><Relationship Id="rId301" Type="http://schemas.openxmlformats.org/officeDocument/2006/relationships/customXml" Target="../ink/ink151.xml"/><Relationship Id="rId82" Type="http://schemas.openxmlformats.org/officeDocument/2006/relationships/customXml" Target="../ink/ink41.xml"/><Relationship Id="rId385" Type="http://schemas.openxmlformats.org/officeDocument/2006/relationships/customXml" Target="../ink/ink193.xml"/><Relationship Id="rId592" Type="http://schemas.openxmlformats.org/officeDocument/2006/relationships/image" Target="../media/image328.png"/><Relationship Id="rId606" Type="http://schemas.openxmlformats.org/officeDocument/2006/relationships/image" Target="../media/image335.png"/><Relationship Id="rId245" Type="http://schemas.openxmlformats.org/officeDocument/2006/relationships/customXml" Target="../ink/ink123.xml"/><Relationship Id="rId287" Type="http://schemas.openxmlformats.org/officeDocument/2006/relationships/customXml" Target="../ink/ink144.xml"/><Relationship Id="rId410" Type="http://schemas.openxmlformats.org/officeDocument/2006/relationships/image" Target="../media/image237.png"/><Relationship Id="rId452" Type="http://schemas.openxmlformats.org/officeDocument/2006/relationships/image" Target="../media/image258.png"/><Relationship Id="rId494" Type="http://schemas.openxmlformats.org/officeDocument/2006/relationships/image" Target="../media/image279.png"/><Relationship Id="rId508" Type="http://schemas.openxmlformats.org/officeDocument/2006/relationships/image" Target="../media/image286.png"/><Relationship Id="rId715" Type="http://schemas.openxmlformats.org/officeDocument/2006/relationships/image" Target="../media/image392.png"/><Relationship Id="rId105" Type="http://schemas.openxmlformats.org/officeDocument/2006/relationships/image" Target="../media/image85.png"/><Relationship Id="rId147" Type="http://schemas.openxmlformats.org/officeDocument/2006/relationships/customXml" Target="../ink/ink74.xml"/><Relationship Id="rId312" Type="http://schemas.openxmlformats.org/officeDocument/2006/relationships/image" Target="../media/image188.png"/><Relationship Id="rId354" Type="http://schemas.openxmlformats.org/officeDocument/2006/relationships/image" Target="../media/image209.png"/><Relationship Id="rId51" Type="http://schemas.openxmlformats.org/officeDocument/2006/relationships/image" Target="../media/image58.png"/><Relationship Id="rId93" Type="http://schemas.openxmlformats.org/officeDocument/2006/relationships/image" Target="../media/image79.png"/><Relationship Id="rId189" Type="http://schemas.openxmlformats.org/officeDocument/2006/relationships/customXml" Target="../ink/ink95.xml"/><Relationship Id="rId396" Type="http://schemas.openxmlformats.org/officeDocument/2006/relationships/image" Target="../media/image230.png"/><Relationship Id="rId561" Type="http://schemas.openxmlformats.org/officeDocument/2006/relationships/customXml" Target="../ink/ink281.xml"/><Relationship Id="rId617" Type="http://schemas.openxmlformats.org/officeDocument/2006/relationships/customXml" Target="../ink/ink309.xml"/><Relationship Id="rId659" Type="http://schemas.openxmlformats.org/officeDocument/2006/relationships/customXml" Target="../ink/ink330.xml"/><Relationship Id="rId214" Type="http://schemas.openxmlformats.org/officeDocument/2006/relationships/image" Target="../media/image139.png"/><Relationship Id="rId256" Type="http://schemas.openxmlformats.org/officeDocument/2006/relationships/image" Target="../media/image160.png"/><Relationship Id="rId298" Type="http://schemas.openxmlformats.org/officeDocument/2006/relationships/image" Target="../media/image181.png"/><Relationship Id="rId421" Type="http://schemas.openxmlformats.org/officeDocument/2006/relationships/customXml" Target="../ink/ink211.xml"/><Relationship Id="rId463" Type="http://schemas.openxmlformats.org/officeDocument/2006/relationships/customXml" Target="../ink/ink232.xml"/><Relationship Id="rId519" Type="http://schemas.openxmlformats.org/officeDocument/2006/relationships/customXml" Target="../ink/ink260.xml"/><Relationship Id="rId670" Type="http://schemas.openxmlformats.org/officeDocument/2006/relationships/image" Target="../media/image367.png"/><Relationship Id="rId116" Type="http://schemas.openxmlformats.org/officeDocument/2006/relationships/customXml" Target="../ink/ink58.xml"/><Relationship Id="rId158" Type="http://schemas.openxmlformats.org/officeDocument/2006/relationships/image" Target="../media/image111.png"/><Relationship Id="rId323" Type="http://schemas.openxmlformats.org/officeDocument/2006/relationships/customXml" Target="../ink/ink162.xml"/><Relationship Id="rId530" Type="http://schemas.openxmlformats.org/officeDocument/2006/relationships/image" Target="../media/image297.png"/><Relationship Id="rId726" Type="http://schemas.openxmlformats.org/officeDocument/2006/relationships/customXml" Target="../ink/ink362.xml"/><Relationship Id="rId20" Type="http://schemas.openxmlformats.org/officeDocument/2006/relationships/customXml" Target="../ink/ink10.xml"/><Relationship Id="rId62" Type="http://schemas.openxmlformats.org/officeDocument/2006/relationships/customXml" Target="../ink/ink31.xml"/><Relationship Id="rId365" Type="http://schemas.openxmlformats.org/officeDocument/2006/relationships/customXml" Target="../ink/ink183.xml"/><Relationship Id="rId572" Type="http://schemas.openxmlformats.org/officeDocument/2006/relationships/image" Target="../media/image318.png"/><Relationship Id="rId628" Type="http://schemas.openxmlformats.org/officeDocument/2006/relationships/image" Target="../media/image346.png"/><Relationship Id="rId225" Type="http://schemas.openxmlformats.org/officeDocument/2006/relationships/customXml" Target="../ink/ink113.xml"/><Relationship Id="rId267" Type="http://schemas.openxmlformats.org/officeDocument/2006/relationships/customXml" Target="../ink/ink134.xml"/><Relationship Id="rId432" Type="http://schemas.openxmlformats.org/officeDocument/2006/relationships/image" Target="../media/image248.png"/><Relationship Id="rId474" Type="http://schemas.openxmlformats.org/officeDocument/2006/relationships/image" Target="../media/image269.png"/><Relationship Id="rId127" Type="http://schemas.openxmlformats.org/officeDocument/2006/relationships/image" Target="../media/image96.png"/><Relationship Id="rId681" Type="http://schemas.openxmlformats.org/officeDocument/2006/relationships/customXml" Target="../ink/ink341.xml"/><Relationship Id="rId31" Type="http://schemas.openxmlformats.org/officeDocument/2006/relationships/image" Target="../media/image48.png"/><Relationship Id="rId73" Type="http://schemas.openxmlformats.org/officeDocument/2006/relationships/image" Target="../media/image69.png"/><Relationship Id="rId169" Type="http://schemas.openxmlformats.org/officeDocument/2006/relationships/customXml" Target="../ink/ink85.xml"/><Relationship Id="rId334" Type="http://schemas.openxmlformats.org/officeDocument/2006/relationships/image" Target="../media/image199.png"/><Relationship Id="rId376" Type="http://schemas.openxmlformats.org/officeDocument/2006/relationships/image" Target="../media/image220.png"/><Relationship Id="rId541" Type="http://schemas.openxmlformats.org/officeDocument/2006/relationships/customXml" Target="../ink/ink271.xml"/><Relationship Id="rId583" Type="http://schemas.openxmlformats.org/officeDocument/2006/relationships/customXml" Target="../ink/ink292.xml"/><Relationship Id="rId639" Type="http://schemas.openxmlformats.org/officeDocument/2006/relationships/customXml" Target="../ink/ink320.xml"/><Relationship Id="rId4" Type="http://schemas.openxmlformats.org/officeDocument/2006/relationships/customXml" Target="../ink/ink2.xml"/><Relationship Id="rId180" Type="http://schemas.openxmlformats.org/officeDocument/2006/relationships/image" Target="../media/image122.png"/><Relationship Id="rId236" Type="http://schemas.openxmlformats.org/officeDocument/2006/relationships/image" Target="../media/image150.png"/><Relationship Id="rId278" Type="http://schemas.openxmlformats.org/officeDocument/2006/relationships/image" Target="../media/image171.png"/><Relationship Id="rId401" Type="http://schemas.openxmlformats.org/officeDocument/2006/relationships/customXml" Target="../ink/ink201.xml"/><Relationship Id="rId443" Type="http://schemas.openxmlformats.org/officeDocument/2006/relationships/customXml" Target="../ink/ink222.xml"/><Relationship Id="rId650" Type="http://schemas.openxmlformats.org/officeDocument/2006/relationships/image" Target="../media/image357.png"/><Relationship Id="rId303" Type="http://schemas.openxmlformats.org/officeDocument/2006/relationships/customXml" Target="../ink/ink152.xml"/><Relationship Id="rId485" Type="http://schemas.openxmlformats.org/officeDocument/2006/relationships/customXml" Target="../ink/ink243.xml"/><Relationship Id="rId692" Type="http://schemas.openxmlformats.org/officeDocument/2006/relationships/image" Target="../media/image378.png"/><Relationship Id="rId706" Type="http://schemas.openxmlformats.org/officeDocument/2006/relationships/customXml" Target="../ink/ink352.xml"/><Relationship Id="rId42" Type="http://schemas.openxmlformats.org/officeDocument/2006/relationships/customXml" Target="../ink/ink21.xml"/><Relationship Id="rId84" Type="http://schemas.openxmlformats.org/officeDocument/2006/relationships/customXml" Target="../ink/ink42.xml"/><Relationship Id="rId138" Type="http://schemas.openxmlformats.org/officeDocument/2006/relationships/image" Target="../media/image101.png"/><Relationship Id="rId345" Type="http://schemas.openxmlformats.org/officeDocument/2006/relationships/customXml" Target="../ink/ink173.xml"/><Relationship Id="rId387" Type="http://schemas.openxmlformats.org/officeDocument/2006/relationships/customXml" Target="../ink/ink194.xml"/><Relationship Id="rId510" Type="http://schemas.openxmlformats.org/officeDocument/2006/relationships/image" Target="../media/image287.png"/><Relationship Id="rId552" Type="http://schemas.openxmlformats.org/officeDocument/2006/relationships/image" Target="../media/image308.png"/><Relationship Id="rId594" Type="http://schemas.openxmlformats.org/officeDocument/2006/relationships/image" Target="../media/image329.png"/><Relationship Id="rId608" Type="http://schemas.openxmlformats.org/officeDocument/2006/relationships/image" Target="../media/image336.png"/><Relationship Id="rId191" Type="http://schemas.openxmlformats.org/officeDocument/2006/relationships/customXml" Target="../ink/ink96.xml"/><Relationship Id="rId205" Type="http://schemas.openxmlformats.org/officeDocument/2006/relationships/customXml" Target="../ink/ink103.xml"/><Relationship Id="rId247" Type="http://schemas.openxmlformats.org/officeDocument/2006/relationships/customXml" Target="../ink/ink124.xml"/><Relationship Id="rId412" Type="http://schemas.openxmlformats.org/officeDocument/2006/relationships/image" Target="../media/image238.png"/><Relationship Id="rId107" Type="http://schemas.openxmlformats.org/officeDocument/2006/relationships/image" Target="../media/image86.png"/><Relationship Id="rId289" Type="http://schemas.openxmlformats.org/officeDocument/2006/relationships/customXml" Target="../ink/ink145.xml"/><Relationship Id="rId454" Type="http://schemas.openxmlformats.org/officeDocument/2006/relationships/image" Target="../media/image259.png"/><Relationship Id="rId496" Type="http://schemas.openxmlformats.org/officeDocument/2006/relationships/image" Target="../media/image280.png"/><Relationship Id="rId661" Type="http://schemas.openxmlformats.org/officeDocument/2006/relationships/customXml" Target="../ink/ink331.xml"/><Relationship Id="rId717" Type="http://schemas.openxmlformats.org/officeDocument/2006/relationships/image" Target="../media/image393.png"/><Relationship Id="rId11" Type="http://schemas.openxmlformats.org/officeDocument/2006/relationships/image" Target="../media/image3810.png"/><Relationship Id="rId53" Type="http://schemas.openxmlformats.org/officeDocument/2006/relationships/image" Target="../media/image59.png"/><Relationship Id="rId149" Type="http://schemas.openxmlformats.org/officeDocument/2006/relationships/customXml" Target="../ink/ink75.xml"/><Relationship Id="rId314" Type="http://schemas.openxmlformats.org/officeDocument/2006/relationships/image" Target="../media/image189.png"/><Relationship Id="rId356" Type="http://schemas.openxmlformats.org/officeDocument/2006/relationships/image" Target="../media/image210.png"/><Relationship Id="rId398" Type="http://schemas.openxmlformats.org/officeDocument/2006/relationships/image" Target="../media/image231.png"/><Relationship Id="rId521" Type="http://schemas.openxmlformats.org/officeDocument/2006/relationships/customXml" Target="../ink/ink261.xml"/><Relationship Id="rId563" Type="http://schemas.openxmlformats.org/officeDocument/2006/relationships/customXml" Target="../ink/ink282.xml"/><Relationship Id="rId619" Type="http://schemas.openxmlformats.org/officeDocument/2006/relationships/customXml" Target="../ink/ink310.xml"/><Relationship Id="rId95" Type="http://schemas.openxmlformats.org/officeDocument/2006/relationships/image" Target="../media/image80.png"/><Relationship Id="rId160" Type="http://schemas.openxmlformats.org/officeDocument/2006/relationships/image" Target="../media/image112.png"/><Relationship Id="rId216" Type="http://schemas.openxmlformats.org/officeDocument/2006/relationships/image" Target="../media/image140.png"/><Relationship Id="rId423" Type="http://schemas.openxmlformats.org/officeDocument/2006/relationships/customXml" Target="../ink/ink212.xml"/><Relationship Id="rId258" Type="http://schemas.openxmlformats.org/officeDocument/2006/relationships/image" Target="../media/image161.png"/><Relationship Id="rId465" Type="http://schemas.openxmlformats.org/officeDocument/2006/relationships/customXml" Target="../ink/ink233.xml"/><Relationship Id="rId630" Type="http://schemas.openxmlformats.org/officeDocument/2006/relationships/image" Target="../media/image347.png"/><Relationship Id="rId672" Type="http://schemas.openxmlformats.org/officeDocument/2006/relationships/image" Target="../media/image368.png"/><Relationship Id="rId728" Type="http://schemas.openxmlformats.org/officeDocument/2006/relationships/image" Target="../media/image40.jpeg"/><Relationship Id="rId22" Type="http://schemas.openxmlformats.org/officeDocument/2006/relationships/customXml" Target="../ink/ink11.xml"/><Relationship Id="rId64" Type="http://schemas.openxmlformats.org/officeDocument/2006/relationships/customXml" Target="../ink/ink32.xml"/><Relationship Id="rId118" Type="http://schemas.openxmlformats.org/officeDocument/2006/relationships/customXml" Target="../ink/ink59.xml"/><Relationship Id="rId325" Type="http://schemas.openxmlformats.org/officeDocument/2006/relationships/customXml" Target="../ink/ink163.xml"/><Relationship Id="rId367" Type="http://schemas.openxmlformats.org/officeDocument/2006/relationships/customXml" Target="../ink/ink184.xml"/><Relationship Id="rId532" Type="http://schemas.openxmlformats.org/officeDocument/2006/relationships/image" Target="../media/image298.png"/><Relationship Id="rId574" Type="http://schemas.openxmlformats.org/officeDocument/2006/relationships/image" Target="../media/image319.png"/><Relationship Id="rId171" Type="http://schemas.openxmlformats.org/officeDocument/2006/relationships/customXml" Target="../ink/ink86.xml"/><Relationship Id="rId227" Type="http://schemas.openxmlformats.org/officeDocument/2006/relationships/customXml" Target="../ink/ink114.xml"/><Relationship Id="rId269" Type="http://schemas.openxmlformats.org/officeDocument/2006/relationships/customXml" Target="../ink/ink135.xml"/><Relationship Id="rId434" Type="http://schemas.openxmlformats.org/officeDocument/2006/relationships/image" Target="../media/image249.png"/><Relationship Id="rId476" Type="http://schemas.openxmlformats.org/officeDocument/2006/relationships/image" Target="../media/image270.png"/><Relationship Id="rId641" Type="http://schemas.openxmlformats.org/officeDocument/2006/relationships/customXml" Target="../ink/ink321.xml"/><Relationship Id="rId683" Type="http://schemas.openxmlformats.org/officeDocument/2006/relationships/customXml" Target="../ink/ink342.xml"/><Relationship Id="rId33" Type="http://schemas.openxmlformats.org/officeDocument/2006/relationships/image" Target="../media/image49.png"/><Relationship Id="rId129" Type="http://schemas.openxmlformats.org/officeDocument/2006/relationships/image" Target="../media/image97.png"/><Relationship Id="rId280" Type="http://schemas.openxmlformats.org/officeDocument/2006/relationships/image" Target="../media/image172.png"/><Relationship Id="rId336" Type="http://schemas.openxmlformats.org/officeDocument/2006/relationships/image" Target="../media/image200.png"/><Relationship Id="rId501" Type="http://schemas.openxmlformats.org/officeDocument/2006/relationships/customXml" Target="../ink/ink251.xml"/><Relationship Id="rId543" Type="http://schemas.openxmlformats.org/officeDocument/2006/relationships/customXml" Target="../ink/ink272.xml"/><Relationship Id="rId75" Type="http://schemas.openxmlformats.org/officeDocument/2006/relationships/image" Target="../media/image70.png"/><Relationship Id="rId140" Type="http://schemas.openxmlformats.org/officeDocument/2006/relationships/image" Target="../media/image102.png"/><Relationship Id="rId182" Type="http://schemas.openxmlformats.org/officeDocument/2006/relationships/image" Target="../media/image123.png"/><Relationship Id="rId378" Type="http://schemas.openxmlformats.org/officeDocument/2006/relationships/image" Target="../media/image221.png"/><Relationship Id="rId403" Type="http://schemas.openxmlformats.org/officeDocument/2006/relationships/customXml" Target="../ink/ink202.xml"/><Relationship Id="rId585" Type="http://schemas.openxmlformats.org/officeDocument/2006/relationships/customXml" Target="../ink/ink293.xml"/><Relationship Id="rId6" Type="http://schemas.openxmlformats.org/officeDocument/2006/relationships/customXml" Target="../ink/ink3.xml"/><Relationship Id="rId238" Type="http://schemas.openxmlformats.org/officeDocument/2006/relationships/image" Target="../media/image151.png"/><Relationship Id="rId445" Type="http://schemas.openxmlformats.org/officeDocument/2006/relationships/customXml" Target="../ink/ink223.xml"/><Relationship Id="rId487" Type="http://schemas.openxmlformats.org/officeDocument/2006/relationships/customXml" Target="../ink/ink244.xml"/><Relationship Id="rId610" Type="http://schemas.openxmlformats.org/officeDocument/2006/relationships/image" Target="../media/image337.png"/><Relationship Id="rId652" Type="http://schemas.openxmlformats.org/officeDocument/2006/relationships/image" Target="../media/image358.png"/><Relationship Id="rId708" Type="http://schemas.openxmlformats.org/officeDocument/2006/relationships/customXml" Target="../ink/ink353.xml"/><Relationship Id="rId291" Type="http://schemas.openxmlformats.org/officeDocument/2006/relationships/customXml" Target="../ink/ink146.xml"/><Relationship Id="rId305" Type="http://schemas.openxmlformats.org/officeDocument/2006/relationships/customXml" Target="../ink/ink153.xml"/><Relationship Id="rId347" Type="http://schemas.openxmlformats.org/officeDocument/2006/relationships/customXml" Target="../ink/ink174.xml"/><Relationship Id="rId512" Type="http://schemas.openxmlformats.org/officeDocument/2006/relationships/image" Target="../media/image288.png"/><Relationship Id="rId44" Type="http://schemas.openxmlformats.org/officeDocument/2006/relationships/customXml" Target="../ink/ink22.xml"/><Relationship Id="rId86" Type="http://schemas.openxmlformats.org/officeDocument/2006/relationships/customXml" Target="../ink/ink43.xml"/><Relationship Id="rId151" Type="http://schemas.openxmlformats.org/officeDocument/2006/relationships/customXml" Target="../ink/ink76.xml"/><Relationship Id="rId389" Type="http://schemas.openxmlformats.org/officeDocument/2006/relationships/customXml" Target="../ink/ink195.xml"/><Relationship Id="rId554" Type="http://schemas.openxmlformats.org/officeDocument/2006/relationships/image" Target="../media/image309.png"/><Relationship Id="rId596" Type="http://schemas.openxmlformats.org/officeDocument/2006/relationships/image" Target="../media/image330.png"/><Relationship Id="rId193" Type="http://schemas.openxmlformats.org/officeDocument/2006/relationships/customXml" Target="../ink/ink97.xml"/><Relationship Id="rId207" Type="http://schemas.openxmlformats.org/officeDocument/2006/relationships/customXml" Target="../ink/ink104.xml"/><Relationship Id="rId249" Type="http://schemas.openxmlformats.org/officeDocument/2006/relationships/customXml" Target="../ink/ink125.xml"/><Relationship Id="rId414" Type="http://schemas.openxmlformats.org/officeDocument/2006/relationships/image" Target="../media/image239.png"/><Relationship Id="rId456" Type="http://schemas.openxmlformats.org/officeDocument/2006/relationships/image" Target="../media/image260.png"/><Relationship Id="rId498" Type="http://schemas.openxmlformats.org/officeDocument/2006/relationships/image" Target="../media/image281.png"/><Relationship Id="rId621" Type="http://schemas.openxmlformats.org/officeDocument/2006/relationships/customXml" Target="../ink/ink311.xml"/><Relationship Id="rId663" Type="http://schemas.openxmlformats.org/officeDocument/2006/relationships/customXml" Target="../ink/ink332.xml"/><Relationship Id="rId13" Type="http://schemas.openxmlformats.org/officeDocument/2006/relationships/image" Target="../media/image3910.png"/><Relationship Id="rId109" Type="http://schemas.openxmlformats.org/officeDocument/2006/relationships/image" Target="../media/image87.png"/><Relationship Id="rId260" Type="http://schemas.openxmlformats.org/officeDocument/2006/relationships/image" Target="../media/image162.png"/><Relationship Id="rId316" Type="http://schemas.openxmlformats.org/officeDocument/2006/relationships/image" Target="../media/image190.png"/><Relationship Id="rId523" Type="http://schemas.openxmlformats.org/officeDocument/2006/relationships/customXml" Target="../ink/ink262.xml"/><Relationship Id="rId719" Type="http://schemas.openxmlformats.org/officeDocument/2006/relationships/image" Target="../media/image379.png"/><Relationship Id="rId55" Type="http://schemas.openxmlformats.org/officeDocument/2006/relationships/image" Target="../media/image60.png"/><Relationship Id="rId97" Type="http://schemas.openxmlformats.org/officeDocument/2006/relationships/image" Target="../media/image81.png"/><Relationship Id="rId120" Type="http://schemas.openxmlformats.org/officeDocument/2006/relationships/customXml" Target="../ink/ink60.xml"/><Relationship Id="rId358" Type="http://schemas.openxmlformats.org/officeDocument/2006/relationships/image" Target="../media/image211.png"/><Relationship Id="rId565" Type="http://schemas.openxmlformats.org/officeDocument/2006/relationships/customXml" Target="../ink/ink283.xml"/><Relationship Id="rId730" Type="http://schemas.openxmlformats.org/officeDocument/2006/relationships/image" Target="../media/image42.jpeg"/><Relationship Id="rId162" Type="http://schemas.openxmlformats.org/officeDocument/2006/relationships/image" Target="../media/image113.png"/><Relationship Id="rId218" Type="http://schemas.openxmlformats.org/officeDocument/2006/relationships/image" Target="../media/image141.png"/><Relationship Id="rId425" Type="http://schemas.openxmlformats.org/officeDocument/2006/relationships/customXml" Target="../ink/ink213.xml"/><Relationship Id="rId467" Type="http://schemas.openxmlformats.org/officeDocument/2006/relationships/customXml" Target="../ink/ink234.xml"/><Relationship Id="rId632" Type="http://schemas.openxmlformats.org/officeDocument/2006/relationships/image" Target="../media/image348.png"/><Relationship Id="rId271" Type="http://schemas.openxmlformats.org/officeDocument/2006/relationships/customXml" Target="../ink/ink136.xml"/><Relationship Id="rId674" Type="http://schemas.openxmlformats.org/officeDocument/2006/relationships/image" Target="../media/image369.png"/><Relationship Id="rId24" Type="http://schemas.openxmlformats.org/officeDocument/2006/relationships/customXml" Target="../ink/ink12.xml"/><Relationship Id="rId66" Type="http://schemas.openxmlformats.org/officeDocument/2006/relationships/customXml" Target="../ink/ink33.xml"/><Relationship Id="rId131" Type="http://schemas.openxmlformats.org/officeDocument/2006/relationships/image" Target="../media/image98.png"/><Relationship Id="rId327" Type="http://schemas.openxmlformats.org/officeDocument/2006/relationships/customXml" Target="../ink/ink164.xml"/><Relationship Id="rId369" Type="http://schemas.openxmlformats.org/officeDocument/2006/relationships/customXml" Target="../ink/ink185.xml"/><Relationship Id="rId534" Type="http://schemas.openxmlformats.org/officeDocument/2006/relationships/image" Target="../media/image299.png"/><Relationship Id="rId576" Type="http://schemas.openxmlformats.org/officeDocument/2006/relationships/image" Target="../media/image320.png"/><Relationship Id="rId173" Type="http://schemas.openxmlformats.org/officeDocument/2006/relationships/customXml" Target="../ink/ink87.xml"/><Relationship Id="rId229" Type="http://schemas.openxmlformats.org/officeDocument/2006/relationships/customXml" Target="../ink/ink115.xml"/><Relationship Id="rId380" Type="http://schemas.openxmlformats.org/officeDocument/2006/relationships/image" Target="../media/image222.png"/><Relationship Id="rId436" Type="http://schemas.openxmlformats.org/officeDocument/2006/relationships/image" Target="../media/image250.png"/><Relationship Id="rId601" Type="http://schemas.openxmlformats.org/officeDocument/2006/relationships/customXml" Target="../ink/ink301.xml"/><Relationship Id="rId643" Type="http://schemas.openxmlformats.org/officeDocument/2006/relationships/customXml" Target="../ink/ink322.xml"/><Relationship Id="rId240" Type="http://schemas.openxmlformats.org/officeDocument/2006/relationships/image" Target="../media/image152.png"/><Relationship Id="rId478" Type="http://schemas.openxmlformats.org/officeDocument/2006/relationships/image" Target="../media/image271.png"/><Relationship Id="rId685" Type="http://schemas.openxmlformats.org/officeDocument/2006/relationships/customXml" Target="../ink/ink343.xml"/><Relationship Id="rId35" Type="http://schemas.openxmlformats.org/officeDocument/2006/relationships/image" Target="../media/image50.png"/><Relationship Id="rId77" Type="http://schemas.openxmlformats.org/officeDocument/2006/relationships/image" Target="../media/image71.png"/><Relationship Id="rId100" Type="http://schemas.openxmlformats.org/officeDocument/2006/relationships/customXml" Target="../ink/ink50.xml"/><Relationship Id="rId282" Type="http://schemas.openxmlformats.org/officeDocument/2006/relationships/image" Target="../media/image173.png"/><Relationship Id="rId338" Type="http://schemas.openxmlformats.org/officeDocument/2006/relationships/image" Target="../media/image201.png"/><Relationship Id="rId503" Type="http://schemas.openxmlformats.org/officeDocument/2006/relationships/customXml" Target="../ink/ink252.xml"/><Relationship Id="rId545" Type="http://schemas.openxmlformats.org/officeDocument/2006/relationships/customXml" Target="../ink/ink273.xml"/><Relationship Id="rId587" Type="http://schemas.openxmlformats.org/officeDocument/2006/relationships/customXml" Target="../ink/ink294.xml"/><Relationship Id="rId710" Type="http://schemas.openxmlformats.org/officeDocument/2006/relationships/customXml" Target="../ink/ink354.xml"/><Relationship Id="rId8" Type="http://schemas.openxmlformats.org/officeDocument/2006/relationships/customXml" Target="../ink/ink4.xml"/><Relationship Id="rId142" Type="http://schemas.openxmlformats.org/officeDocument/2006/relationships/image" Target="../media/image103.png"/><Relationship Id="rId184" Type="http://schemas.openxmlformats.org/officeDocument/2006/relationships/image" Target="../media/image124.png"/><Relationship Id="rId391" Type="http://schemas.openxmlformats.org/officeDocument/2006/relationships/customXml" Target="../ink/ink196.xml"/><Relationship Id="rId405" Type="http://schemas.openxmlformats.org/officeDocument/2006/relationships/customXml" Target="../ink/ink203.xml"/><Relationship Id="rId447" Type="http://schemas.openxmlformats.org/officeDocument/2006/relationships/customXml" Target="../ink/ink224.xml"/><Relationship Id="rId612" Type="http://schemas.openxmlformats.org/officeDocument/2006/relationships/image" Target="../media/image338.png"/><Relationship Id="rId251" Type="http://schemas.openxmlformats.org/officeDocument/2006/relationships/customXml" Target="../ink/ink126.xml"/><Relationship Id="rId489" Type="http://schemas.openxmlformats.org/officeDocument/2006/relationships/customXml" Target="../ink/ink245.xml"/><Relationship Id="rId654" Type="http://schemas.openxmlformats.org/officeDocument/2006/relationships/image" Target="../media/image359.png"/><Relationship Id="rId46" Type="http://schemas.openxmlformats.org/officeDocument/2006/relationships/customXml" Target="../ink/ink23.xml"/><Relationship Id="rId293" Type="http://schemas.openxmlformats.org/officeDocument/2006/relationships/customXml" Target="../ink/ink147.xml"/><Relationship Id="rId307" Type="http://schemas.openxmlformats.org/officeDocument/2006/relationships/customXml" Target="../ink/ink154.xml"/><Relationship Id="rId349" Type="http://schemas.openxmlformats.org/officeDocument/2006/relationships/customXml" Target="../ink/ink175.xml"/><Relationship Id="rId514" Type="http://schemas.openxmlformats.org/officeDocument/2006/relationships/image" Target="../media/image289.png"/><Relationship Id="rId556" Type="http://schemas.openxmlformats.org/officeDocument/2006/relationships/image" Target="../media/image310.png"/><Relationship Id="rId721" Type="http://schemas.openxmlformats.org/officeDocument/2006/relationships/image" Target="../media/image395.png"/><Relationship Id="rId88" Type="http://schemas.openxmlformats.org/officeDocument/2006/relationships/customXml" Target="../ink/ink44.xml"/><Relationship Id="rId111" Type="http://schemas.openxmlformats.org/officeDocument/2006/relationships/image" Target="../media/image88.png"/><Relationship Id="rId153" Type="http://schemas.openxmlformats.org/officeDocument/2006/relationships/customXml" Target="../ink/ink77.xml"/><Relationship Id="rId195" Type="http://schemas.openxmlformats.org/officeDocument/2006/relationships/customXml" Target="../ink/ink98.xml"/><Relationship Id="rId209" Type="http://schemas.openxmlformats.org/officeDocument/2006/relationships/customXml" Target="../ink/ink105.xml"/><Relationship Id="rId360" Type="http://schemas.openxmlformats.org/officeDocument/2006/relationships/image" Target="../media/image212.png"/><Relationship Id="rId416" Type="http://schemas.openxmlformats.org/officeDocument/2006/relationships/image" Target="../media/image240.png"/><Relationship Id="rId598" Type="http://schemas.openxmlformats.org/officeDocument/2006/relationships/image" Target="../media/image331.png"/><Relationship Id="rId220" Type="http://schemas.openxmlformats.org/officeDocument/2006/relationships/image" Target="../media/image142.png"/><Relationship Id="rId458" Type="http://schemas.openxmlformats.org/officeDocument/2006/relationships/image" Target="../media/image261.png"/><Relationship Id="rId623" Type="http://schemas.openxmlformats.org/officeDocument/2006/relationships/customXml" Target="../ink/ink312.xml"/><Relationship Id="rId665" Type="http://schemas.openxmlformats.org/officeDocument/2006/relationships/customXml" Target="../ink/ink333.xml"/><Relationship Id="rId15" Type="http://schemas.openxmlformats.org/officeDocument/2006/relationships/image" Target="../media/image40.png"/><Relationship Id="rId57" Type="http://schemas.openxmlformats.org/officeDocument/2006/relationships/image" Target="../media/image61.png"/><Relationship Id="rId262" Type="http://schemas.openxmlformats.org/officeDocument/2006/relationships/image" Target="../media/image163.png"/><Relationship Id="rId318" Type="http://schemas.openxmlformats.org/officeDocument/2006/relationships/image" Target="../media/image191.png"/><Relationship Id="rId525" Type="http://schemas.openxmlformats.org/officeDocument/2006/relationships/customXml" Target="../ink/ink263.xml"/><Relationship Id="rId567" Type="http://schemas.openxmlformats.org/officeDocument/2006/relationships/customXml" Target="../ink/ink284.xml"/><Relationship Id="rId99" Type="http://schemas.openxmlformats.org/officeDocument/2006/relationships/image" Target="../media/image82.png"/><Relationship Id="rId122" Type="http://schemas.openxmlformats.org/officeDocument/2006/relationships/customXml" Target="../ink/ink61.xml"/><Relationship Id="rId164" Type="http://schemas.openxmlformats.org/officeDocument/2006/relationships/image" Target="../media/image114.png"/><Relationship Id="rId371" Type="http://schemas.openxmlformats.org/officeDocument/2006/relationships/customXml" Target="../ink/ink186.xml"/><Relationship Id="rId427" Type="http://schemas.openxmlformats.org/officeDocument/2006/relationships/customXml" Target="../ink/ink214.xml"/><Relationship Id="rId469" Type="http://schemas.openxmlformats.org/officeDocument/2006/relationships/customXml" Target="../ink/ink235.xml"/><Relationship Id="rId634" Type="http://schemas.openxmlformats.org/officeDocument/2006/relationships/image" Target="../media/image349.png"/><Relationship Id="rId676" Type="http://schemas.openxmlformats.org/officeDocument/2006/relationships/image" Target="../media/image370.png"/><Relationship Id="rId26" Type="http://schemas.openxmlformats.org/officeDocument/2006/relationships/customXml" Target="../ink/ink13.xml"/><Relationship Id="rId231" Type="http://schemas.openxmlformats.org/officeDocument/2006/relationships/customXml" Target="../ink/ink116.xml"/><Relationship Id="rId273" Type="http://schemas.openxmlformats.org/officeDocument/2006/relationships/customXml" Target="../ink/ink137.xml"/><Relationship Id="rId329" Type="http://schemas.openxmlformats.org/officeDocument/2006/relationships/customXml" Target="../ink/ink165.xml"/><Relationship Id="rId480" Type="http://schemas.openxmlformats.org/officeDocument/2006/relationships/image" Target="../media/image272.png"/><Relationship Id="rId536" Type="http://schemas.openxmlformats.org/officeDocument/2006/relationships/image" Target="../media/image300.png"/><Relationship Id="rId701" Type="http://schemas.openxmlformats.org/officeDocument/2006/relationships/image" Target="../media/image385.png"/><Relationship Id="rId68" Type="http://schemas.openxmlformats.org/officeDocument/2006/relationships/customXml" Target="../ink/ink34.xml"/><Relationship Id="rId133" Type="http://schemas.openxmlformats.org/officeDocument/2006/relationships/customXml" Target="../ink/ink67.xml"/><Relationship Id="rId175" Type="http://schemas.openxmlformats.org/officeDocument/2006/relationships/customXml" Target="../ink/ink88.xml"/><Relationship Id="rId340" Type="http://schemas.openxmlformats.org/officeDocument/2006/relationships/image" Target="../media/image202.png"/><Relationship Id="rId578" Type="http://schemas.openxmlformats.org/officeDocument/2006/relationships/image" Target="../media/image321.png"/><Relationship Id="rId200" Type="http://schemas.openxmlformats.org/officeDocument/2006/relationships/image" Target="../media/image132.png"/><Relationship Id="rId382" Type="http://schemas.openxmlformats.org/officeDocument/2006/relationships/image" Target="../media/image223.png"/><Relationship Id="rId438" Type="http://schemas.openxmlformats.org/officeDocument/2006/relationships/image" Target="../media/image251.png"/><Relationship Id="rId603" Type="http://schemas.openxmlformats.org/officeDocument/2006/relationships/customXml" Target="../ink/ink302.xml"/><Relationship Id="rId645" Type="http://schemas.openxmlformats.org/officeDocument/2006/relationships/customXml" Target="../ink/ink323.xml"/><Relationship Id="rId687" Type="http://schemas.openxmlformats.org/officeDocument/2006/relationships/customXml" Target="../ink/ink344.xml"/><Relationship Id="rId242" Type="http://schemas.openxmlformats.org/officeDocument/2006/relationships/image" Target="../media/image153.png"/><Relationship Id="rId284" Type="http://schemas.openxmlformats.org/officeDocument/2006/relationships/image" Target="../media/image174.png"/><Relationship Id="rId491" Type="http://schemas.openxmlformats.org/officeDocument/2006/relationships/customXml" Target="../ink/ink246.xml"/><Relationship Id="rId505" Type="http://schemas.openxmlformats.org/officeDocument/2006/relationships/customXml" Target="../ink/ink253.xml"/><Relationship Id="rId712" Type="http://schemas.openxmlformats.org/officeDocument/2006/relationships/customXml" Target="../ink/ink355.xml"/><Relationship Id="rId37" Type="http://schemas.openxmlformats.org/officeDocument/2006/relationships/image" Target="../media/image51.png"/><Relationship Id="rId79" Type="http://schemas.openxmlformats.org/officeDocument/2006/relationships/image" Target="../media/image72.png"/><Relationship Id="rId102" Type="http://schemas.openxmlformats.org/officeDocument/2006/relationships/customXml" Target="../ink/ink51.xml"/><Relationship Id="rId144" Type="http://schemas.openxmlformats.org/officeDocument/2006/relationships/image" Target="../media/image104.png"/><Relationship Id="rId547" Type="http://schemas.openxmlformats.org/officeDocument/2006/relationships/customXml" Target="../ink/ink274.xml"/><Relationship Id="rId589" Type="http://schemas.openxmlformats.org/officeDocument/2006/relationships/customXml" Target="../ink/ink295.xml"/><Relationship Id="rId90" Type="http://schemas.openxmlformats.org/officeDocument/2006/relationships/customXml" Target="../ink/ink45.xml"/><Relationship Id="rId186" Type="http://schemas.openxmlformats.org/officeDocument/2006/relationships/image" Target="../media/image125.png"/><Relationship Id="rId351" Type="http://schemas.openxmlformats.org/officeDocument/2006/relationships/customXml" Target="../ink/ink176.xml"/><Relationship Id="rId393" Type="http://schemas.openxmlformats.org/officeDocument/2006/relationships/customXml" Target="../ink/ink197.xml"/><Relationship Id="rId407" Type="http://schemas.openxmlformats.org/officeDocument/2006/relationships/customXml" Target="../ink/ink204.xml"/><Relationship Id="rId449" Type="http://schemas.openxmlformats.org/officeDocument/2006/relationships/customXml" Target="../ink/ink225.xml"/><Relationship Id="rId614" Type="http://schemas.openxmlformats.org/officeDocument/2006/relationships/image" Target="../media/image339.png"/><Relationship Id="rId656" Type="http://schemas.openxmlformats.org/officeDocument/2006/relationships/image" Target="../media/image360.png"/><Relationship Id="rId211" Type="http://schemas.openxmlformats.org/officeDocument/2006/relationships/customXml" Target="../ink/ink106.xml"/><Relationship Id="rId253" Type="http://schemas.openxmlformats.org/officeDocument/2006/relationships/customXml" Target="../ink/ink127.xml"/><Relationship Id="rId295" Type="http://schemas.openxmlformats.org/officeDocument/2006/relationships/customXml" Target="../ink/ink148.xml"/><Relationship Id="rId309" Type="http://schemas.openxmlformats.org/officeDocument/2006/relationships/customXml" Target="../ink/ink155.xml"/><Relationship Id="rId460" Type="http://schemas.openxmlformats.org/officeDocument/2006/relationships/image" Target="../media/image262.png"/><Relationship Id="rId516" Type="http://schemas.openxmlformats.org/officeDocument/2006/relationships/image" Target="../media/image290.png"/><Relationship Id="rId698" Type="http://schemas.openxmlformats.org/officeDocument/2006/relationships/customXml" Target="../ink/ink348.xml"/><Relationship Id="rId48" Type="http://schemas.openxmlformats.org/officeDocument/2006/relationships/customXml" Target="../ink/ink24.xml"/><Relationship Id="rId113" Type="http://schemas.openxmlformats.org/officeDocument/2006/relationships/image" Target="../media/image89.png"/><Relationship Id="rId320" Type="http://schemas.openxmlformats.org/officeDocument/2006/relationships/image" Target="../media/image192.png"/><Relationship Id="rId558" Type="http://schemas.openxmlformats.org/officeDocument/2006/relationships/image" Target="../media/image311.png"/><Relationship Id="rId723" Type="http://schemas.openxmlformats.org/officeDocument/2006/relationships/image" Target="../media/image396.png"/><Relationship Id="rId155" Type="http://schemas.openxmlformats.org/officeDocument/2006/relationships/customXml" Target="../ink/ink78.xml"/><Relationship Id="rId197" Type="http://schemas.openxmlformats.org/officeDocument/2006/relationships/customXml" Target="../ink/ink99.xml"/><Relationship Id="rId362" Type="http://schemas.openxmlformats.org/officeDocument/2006/relationships/image" Target="../media/image213.png"/><Relationship Id="rId418" Type="http://schemas.openxmlformats.org/officeDocument/2006/relationships/image" Target="../media/image241.png"/><Relationship Id="rId625" Type="http://schemas.openxmlformats.org/officeDocument/2006/relationships/customXml" Target="../ink/ink313.xml"/><Relationship Id="rId222" Type="http://schemas.openxmlformats.org/officeDocument/2006/relationships/image" Target="../media/image143.png"/><Relationship Id="rId264" Type="http://schemas.openxmlformats.org/officeDocument/2006/relationships/image" Target="../media/image164.png"/><Relationship Id="rId471" Type="http://schemas.openxmlformats.org/officeDocument/2006/relationships/customXml" Target="../ink/ink236.xml"/><Relationship Id="rId667" Type="http://schemas.openxmlformats.org/officeDocument/2006/relationships/customXml" Target="../ink/ink334.xml"/><Relationship Id="rId17" Type="http://schemas.openxmlformats.org/officeDocument/2006/relationships/image" Target="../media/image41.png"/><Relationship Id="rId59" Type="http://schemas.openxmlformats.org/officeDocument/2006/relationships/image" Target="../media/image62.png"/><Relationship Id="rId124" Type="http://schemas.openxmlformats.org/officeDocument/2006/relationships/customXml" Target="../ink/ink62.xml"/><Relationship Id="rId527" Type="http://schemas.openxmlformats.org/officeDocument/2006/relationships/customXml" Target="../ink/ink264.xml"/><Relationship Id="rId569" Type="http://schemas.openxmlformats.org/officeDocument/2006/relationships/customXml" Target="../ink/ink285.xml"/><Relationship Id="rId70" Type="http://schemas.openxmlformats.org/officeDocument/2006/relationships/customXml" Target="../ink/ink35.xml"/><Relationship Id="rId166" Type="http://schemas.openxmlformats.org/officeDocument/2006/relationships/image" Target="../media/image115.png"/><Relationship Id="rId331" Type="http://schemas.openxmlformats.org/officeDocument/2006/relationships/customXml" Target="../ink/ink166.xml"/><Relationship Id="rId373" Type="http://schemas.openxmlformats.org/officeDocument/2006/relationships/customXml" Target="../ink/ink187.xml"/><Relationship Id="rId429" Type="http://schemas.openxmlformats.org/officeDocument/2006/relationships/customXml" Target="../ink/ink215.xml"/><Relationship Id="rId580" Type="http://schemas.openxmlformats.org/officeDocument/2006/relationships/image" Target="../media/image322.png"/><Relationship Id="rId636" Type="http://schemas.openxmlformats.org/officeDocument/2006/relationships/image" Target="../media/image350.png"/><Relationship Id="rId1" Type="http://schemas.openxmlformats.org/officeDocument/2006/relationships/slideLayout" Target="../slideLayouts/slideLayout27.xml"/><Relationship Id="rId233" Type="http://schemas.openxmlformats.org/officeDocument/2006/relationships/customXml" Target="../ink/ink117.xml"/><Relationship Id="rId440" Type="http://schemas.openxmlformats.org/officeDocument/2006/relationships/image" Target="../media/image252.png"/><Relationship Id="rId678" Type="http://schemas.openxmlformats.org/officeDocument/2006/relationships/image" Target="../media/image371.png"/><Relationship Id="rId28" Type="http://schemas.openxmlformats.org/officeDocument/2006/relationships/customXml" Target="../ink/ink14.xml"/><Relationship Id="rId275" Type="http://schemas.openxmlformats.org/officeDocument/2006/relationships/customXml" Target="../ink/ink138.xml"/><Relationship Id="rId300" Type="http://schemas.openxmlformats.org/officeDocument/2006/relationships/image" Target="../media/image182.png"/><Relationship Id="rId482" Type="http://schemas.openxmlformats.org/officeDocument/2006/relationships/image" Target="../media/image273.png"/><Relationship Id="rId538" Type="http://schemas.openxmlformats.org/officeDocument/2006/relationships/image" Target="../media/image301.png"/><Relationship Id="rId703" Type="http://schemas.openxmlformats.org/officeDocument/2006/relationships/image" Target="../media/image386.png"/><Relationship Id="rId81" Type="http://schemas.openxmlformats.org/officeDocument/2006/relationships/image" Target="../media/image73.png"/><Relationship Id="rId135" Type="http://schemas.openxmlformats.org/officeDocument/2006/relationships/customXml" Target="../ink/ink68.xml"/><Relationship Id="rId177" Type="http://schemas.openxmlformats.org/officeDocument/2006/relationships/customXml" Target="../ink/ink89.xml"/><Relationship Id="rId342" Type="http://schemas.openxmlformats.org/officeDocument/2006/relationships/image" Target="../media/image203.png"/><Relationship Id="rId384" Type="http://schemas.openxmlformats.org/officeDocument/2006/relationships/image" Target="../media/image224.png"/><Relationship Id="rId591" Type="http://schemas.openxmlformats.org/officeDocument/2006/relationships/customXml" Target="../ink/ink296.xml"/><Relationship Id="rId605" Type="http://schemas.openxmlformats.org/officeDocument/2006/relationships/customXml" Target="../ink/ink303.xml"/><Relationship Id="rId202" Type="http://schemas.openxmlformats.org/officeDocument/2006/relationships/image" Target="../media/image133.png"/><Relationship Id="rId244" Type="http://schemas.openxmlformats.org/officeDocument/2006/relationships/image" Target="../media/image154.png"/><Relationship Id="rId647" Type="http://schemas.openxmlformats.org/officeDocument/2006/relationships/customXml" Target="../ink/ink324.xml"/><Relationship Id="rId689" Type="http://schemas.openxmlformats.org/officeDocument/2006/relationships/customXml" Target="../ink/ink345.xml"/><Relationship Id="rId39" Type="http://schemas.openxmlformats.org/officeDocument/2006/relationships/image" Target="../media/image52.png"/><Relationship Id="rId286" Type="http://schemas.openxmlformats.org/officeDocument/2006/relationships/image" Target="../media/image175.png"/><Relationship Id="rId451" Type="http://schemas.openxmlformats.org/officeDocument/2006/relationships/customXml" Target="../ink/ink226.xml"/><Relationship Id="rId493" Type="http://schemas.openxmlformats.org/officeDocument/2006/relationships/customXml" Target="../ink/ink247.xml"/><Relationship Id="rId507" Type="http://schemas.openxmlformats.org/officeDocument/2006/relationships/customXml" Target="../ink/ink254.xml"/><Relationship Id="rId549" Type="http://schemas.openxmlformats.org/officeDocument/2006/relationships/customXml" Target="../ink/ink275.xml"/><Relationship Id="rId714" Type="http://schemas.openxmlformats.org/officeDocument/2006/relationships/customXml" Target="../ink/ink356.xml"/><Relationship Id="rId50" Type="http://schemas.openxmlformats.org/officeDocument/2006/relationships/customXml" Target="../ink/ink25.xml"/><Relationship Id="rId104" Type="http://schemas.openxmlformats.org/officeDocument/2006/relationships/customXml" Target="../ink/ink52.xml"/><Relationship Id="rId146" Type="http://schemas.openxmlformats.org/officeDocument/2006/relationships/image" Target="../media/image105.png"/><Relationship Id="rId188" Type="http://schemas.openxmlformats.org/officeDocument/2006/relationships/image" Target="../media/image126.png"/><Relationship Id="rId311" Type="http://schemas.openxmlformats.org/officeDocument/2006/relationships/customXml" Target="../ink/ink156.xml"/><Relationship Id="rId353" Type="http://schemas.openxmlformats.org/officeDocument/2006/relationships/customXml" Target="../ink/ink177.xml"/><Relationship Id="rId395" Type="http://schemas.openxmlformats.org/officeDocument/2006/relationships/customXml" Target="../ink/ink198.xml"/><Relationship Id="rId409" Type="http://schemas.openxmlformats.org/officeDocument/2006/relationships/customXml" Target="../ink/ink205.xml"/><Relationship Id="rId560" Type="http://schemas.openxmlformats.org/officeDocument/2006/relationships/image" Target="../media/image312.png"/><Relationship Id="rId92" Type="http://schemas.openxmlformats.org/officeDocument/2006/relationships/customXml" Target="../ink/ink46.xml"/><Relationship Id="rId213" Type="http://schemas.openxmlformats.org/officeDocument/2006/relationships/customXml" Target="../ink/ink107.xml"/><Relationship Id="rId420" Type="http://schemas.openxmlformats.org/officeDocument/2006/relationships/image" Target="../media/image242.png"/><Relationship Id="rId616" Type="http://schemas.openxmlformats.org/officeDocument/2006/relationships/image" Target="../media/image340.png"/><Relationship Id="rId658" Type="http://schemas.openxmlformats.org/officeDocument/2006/relationships/image" Target="../media/image361.png"/><Relationship Id="rId255" Type="http://schemas.openxmlformats.org/officeDocument/2006/relationships/customXml" Target="../ink/ink128.xml"/><Relationship Id="rId297" Type="http://schemas.openxmlformats.org/officeDocument/2006/relationships/customXml" Target="../ink/ink149.xml"/><Relationship Id="rId462" Type="http://schemas.openxmlformats.org/officeDocument/2006/relationships/image" Target="../media/image263.png"/><Relationship Id="rId518" Type="http://schemas.openxmlformats.org/officeDocument/2006/relationships/image" Target="../media/image291.png"/><Relationship Id="rId725" Type="http://schemas.openxmlformats.org/officeDocument/2006/relationships/image" Target="../media/image397.png"/><Relationship Id="rId115" Type="http://schemas.openxmlformats.org/officeDocument/2006/relationships/image" Target="../media/image90.png"/><Relationship Id="rId157" Type="http://schemas.openxmlformats.org/officeDocument/2006/relationships/customXml" Target="../ink/ink79.xml"/><Relationship Id="rId322" Type="http://schemas.openxmlformats.org/officeDocument/2006/relationships/image" Target="../media/image193.png"/><Relationship Id="rId364" Type="http://schemas.openxmlformats.org/officeDocument/2006/relationships/image" Target="../media/image214.png"/><Relationship Id="rId61" Type="http://schemas.openxmlformats.org/officeDocument/2006/relationships/image" Target="../media/image63.png"/><Relationship Id="rId199" Type="http://schemas.openxmlformats.org/officeDocument/2006/relationships/customXml" Target="../ink/ink100.xml"/><Relationship Id="rId571" Type="http://schemas.openxmlformats.org/officeDocument/2006/relationships/customXml" Target="../ink/ink286.xml"/><Relationship Id="rId627" Type="http://schemas.openxmlformats.org/officeDocument/2006/relationships/customXml" Target="../ink/ink314.xml"/><Relationship Id="rId669" Type="http://schemas.openxmlformats.org/officeDocument/2006/relationships/customXml" Target="../ink/ink335.xml"/><Relationship Id="rId19" Type="http://schemas.openxmlformats.org/officeDocument/2006/relationships/image" Target="../media/image42.png"/><Relationship Id="rId224" Type="http://schemas.openxmlformats.org/officeDocument/2006/relationships/image" Target="../media/image144.png"/><Relationship Id="rId266" Type="http://schemas.openxmlformats.org/officeDocument/2006/relationships/image" Target="../media/image165.png"/><Relationship Id="rId431" Type="http://schemas.openxmlformats.org/officeDocument/2006/relationships/customXml" Target="../ink/ink216.xml"/><Relationship Id="rId473" Type="http://schemas.openxmlformats.org/officeDocument/2006/relationships/customXml" Target="../ink/ink237.xml"/><Relationship Id="rId529" Type="http://schemas.openxmlformats.org/officeDocument/2006/relationships/customXml" Target="../ink/ink265.xml"/><Relationship Id="rId680" Type="http://schemas.openxmlformats.org/officeDocument/2006/relationships/image" Target="../media/image372.png"/><Relationship Id="rId30" Type="http://schemas.openxmlformats.org/officeDocument/2006/relationships/customXml" Target="../ink/ink15.xml"/><Relationship Id="rId126" Type="http://schemas.openxmlformats.org/officeDocument/2006/relationships/customXml" Target="../ink/ink63.xml"/><Relationship Id="rId168" Type="http://schemas.openxmlformats.org/officeDocument/2006/relationships/image" Target="../media/image116.png"/><Relationship Id="rId333" Type="http://schemas.openxmlformats.org/officeDocument/2006/relationships/customXml" Target="../ink/ink167.xml"/><Relationship Id="rId540" Type="http://schemas.openxmlformats.org/officeDocument/2006/relationships/image" Target="../media/image302.png"/><Relationship Id="rId72" Type="http://schemas.openxmlformats.org/officeDocument/2006/relationships/customXml" Target="../ink/ink36.xml"/><Relationship Id="rId375" Type="http://schemas.openxmlformats.org/officeDocument/2006/relationships/customXml" Target="../ink/ink188.xml"/><Relationship Id="rId582" Type="http://schemas.openxmlformats.org/officeDocument/2006/relationships/image" Target="../media/image323.png"/><Relationship Id="rId638" Type="http://schemas.openxmlformats.org/officeDocument/2006/relationships/image" Target="../media/image351.png"/><Relationship Id="rId3" Type="http://schemas.openxmlformats.org/officeDocument/2006/relationships/image" Target="../media/image39.jpeg"/><Relationship Id="rId235" Type="http://schemas.openxmlformats.org/officeDocument/2006/relationships/customXml" Target="../ink/ink118.xml"/><Relationship Id="rId277" Type="http://schemas.openxmlformats.org/officeDocument/2006/relationships/customXml" Target="../ink/ink139.xml"/><Relationship Id="rId400" Type="http://schemas.openxmlformats.org/officeDocument/2006/relationships/image" Target="../media/image232.png"/><Relationship Id="rId442" Type="http://schemas.openxmlformats.org/officeDocument/2006/relationships/image" Target="../media/image253.png"/><Relationship Id="rId484" Type="http://schemas.openxmlformats.org/officeDocument/2006/relationships/image" Target="../media/image274.png"/><Relationship Id="rId705" Type="http://schemas.openxmlformats.org/officeDocument/2006/relationships/image" Target="../media/image387.png"/><Relationship Id="rId137" Type="http://schemas.openxmlformats.org/officeDocument/2006/relationships/customXml" Target="../ink/ink69.xml"/><Relationship Id="rId302" Type="http://schemas.openxmlformats.org/officeDocument/2006/relationships/image" Target="../media/image183.png"/><Relationship Id="rId344" Type="http://schemas.openxmlformats.org/officeDocument/2006/relationships/image" Target="../media/image204.png"/><Relationship Id="rId691" Type="http://schemas.openxmlformats.org/officeDocument/2006/relationships/customXml" Target="../ink/ink346.xml"/><Relationship Id="rId41" Type="http://schemas.openxmlformats.org/officeDocument/2006/relationships/image" Target="../media/image53.png"/><Relationship Id="rId83" Type="http://schemas.openxmlformats.org/officeDocument/2006/relationships/image" Target="../media/image74.png"/><Relationship Id="rId179" Type="http://schemas.openxmlformats.org/officeDocument/2006/relationships/customXml" Target="../ink/ink90.xml"/><Relationship Id="rId386" Type="http://schemas.openxmlformats.org/officeDocument/2006/relationships/image" Target="../media/image225.png"/><Relationship Id="rId551" Type="http://schemas.openxmlformats.org/officeDocument/2006/relationships/customXml" Target="../ink/ink276.xml"/><Relationship Id="rId593" Type="http://schemas.openxmlformats.org/officeDocument/2006/relationships/customXml" Target="../ink/ink297.xml"/><Relationship Id="rId607" Type="http://schemas.openxmlformats.org/officeDocument/2006/relationships/customXml" Target="../ink/ink304.xml"/><Relationship Id="rId649" Type="http://schemas.openxmlformats.org/officeDocument/2006/relationships/customXml" Target="../ink/ink325.xml"/><Relationship Id="rId190" Type="http://schemas.openxmlformats.org/officeDocument/2006/relationships/image" Target="../media/image127.png"/><Relationship Id="rId204" Type="http://schemas.openxmlformats.org/officeDocument/2006/relationships/image" Target="../media/image134.png"/><Relationship Id="rId246" Type="http://schemas.openxmlformats.org/officeDocument/2006/relationships/image" Target="../media/image155.png"/><Relationship Id="rId288" Type="http://schemas.openxmlformats.org/officeDocument/2006/relationships/image" Target="../media/image176.png"/><Relationship Id="rId411" Type="http://schemas.openxmlformats.org/officeDocument/2006/relationships/customXml" Target="../ink/ink206.xml"/><Relationship Id="rId453" Type="http://schemas.openxmlformats.org/officeDocument/2006/relationships/customXml" Target="../ink/ink227.xml"/><Relationship Id="rId509" Type="http://schemas.openxmlformats.org/officeDocument/2006/relationships/customXml" Target="../ink/ink255.xml"/><Relationship Id="rId660" Type="http://schemas.openxmlformats.org/officeDocument/2006/relationships/image" Target="../media/image362.png"/><Relationship Id="rId106" Type="http://schemas.openxmlformats.org/officeDocument/2006/relationships/customXml" Target="../ink/ink53.xml"/><Relationship Id="rId313" Type="http://schemas.openxmlformats.org/officeDocument/2006/relationships/customXml" Target="../ink/ink157.xml"/><Relationship Id="rId495" Type="http://schemas.openxmlformats.org/officeDocument/2006/relationships/customXml" Target="../ink/ink248.xml"/><Relationship Id="rId716" Type="http://schemas.openxmlformats.org/officeDocument/2006/relationships/customXml" Target="../ink/ink357.xml"/><Relationship Id="rId10" Type="http://schemas.openxmlformats.org/officeDocument/2006/relationships/customXml" Target="../ink/ink5.xml"/><Relationship Id="rId52" Type="http://schemas.openxmlformats.org/officeDocument/2006/relationships/customXml" Target="../ink/ink26.xml"/><Relationship Id="rId94" Type="http://schemas.openxmlformats.org/officeDocument/2006/relationships/customXml" Target="../ink/ink47.xml"/><Relationship Id="rId148" Type="http://schemas.openxmlformats.org/officeDocument/2006/relationships/image" Target="../media/image106.png"/><Relationship Id="rId355" Type="http://schemas.openxmlformats.org/officeDocument/2006/relationships/customXml" Target="../ink/ink178.xml"/><Relationship Id="rId397" Type="http://schemas.openxmlformats.org/officeDocument/2006/relationships/customXml" Target="../ink/ink199.xml"/><Relationship Id="rId520" Type="http://schemas.openxmlformats.org/officeDocument/2006/relationships/image" Target="../media/image292.png"/><Relationship Id="rId562" Type="http://schemas.openxmlformats.org/officeDocument/2006/relationships/image" Target="../media/image313.png"/><Relationship Id="rId618" Type="http://schemas.openxmlformats.org/officeDocument/2006/relationships/image" Target="../media/image341.png"/><Relationship Id="rId215" Type="http://schemas.openxmlformats.org/officeDocument/2006/relationships/customXml" Target="../ink/ink108.xml"/><Relationship Id="rId257" Type="http://schemas.openxmlformats.org/officeDocument/2006/relationships/customXml" Target="../ink/ink129.xml"/><Relationship Id="rId422" Type="http://schemas.openxmlformats.org/officeDocument/2006/relationships/image" Target="../media/image243.png"/><Relationship Id="rId464" Type="http://schemas.openxmlformats.org/officeDocument/2006/relationships/image" Target="../media/image264.png"/><Relationship Id="rId299" Type="http://schemas.openxmlformats.org/officeDocument/2006/relationships/customXml" Target="../ink/ink150.xml"/><Relationship Id="rId727" Type="http://schemas.openxmlformats.org/officeDocument/2006/relationships/image" Target="../media/image380.png"/><Relationship Id="rId63" Type="http://schemas.openxmlformats.org/officeDocument/2006/relationships/image" Target="../media/image64.png"/><Relationship Id="rId159" Type="http://schemas.openxmlformats.org/officeDocument/2006/relationships/customXml" Target="../ink/ink80.xml"/><Relationship Id="rId366" Type="http://schemas.openxmlformats.org/officeDocument/2006/relationships/image" Target="../media/image215.png"/><Relationship Id="rId573" Type="http://schemas.openxmlformats.org/officeDocument/2006/relationships/customXml" Target="../ink/ink287.xml"/><Relationship Id="rId226" Type="http://schemas.openxmlformats.org/officeDocument/2006/relationships/image" Target="../media/image145.png"/><Relationship Id="rId433" Type="http://schemas.openxmlformats.org/officeDocument/2006/relationships/customXml" Target="../ink/ink217.xml"/><Relationship Id="rId640" Type="http://schemas.openxmlformats.org/officeDocument/2006/relationships/image" Target="../media/image352.png"/><Relationship Id="rId74" Type="http://schemas.openxmlformats.org/officeDocument/2006/relationships/customXml" Target="../ink/ink37.xml"/><Relationship Id="rId377" Type="http://schemas.openxmlformats.org/officeDocument/2006/relationships/customXml" Target="../ink/ink189.xml"/><Relationship Id="rId500" Type="http://schemas.openxmlformats.org/officeDocument/2006/relationships/image" Target="../media/image282.png"/><Relationship Id="rId584" Type="http://schemas.openxmlformats.org/officeDocument/2006/relationships/image" Target="../media/image324.png"/><Relationship Id="rId5" Type="http://schemas.openxmlformats.org/officeDocument/2006/relationships/image" Target="../media/image3510.png"/><Relationship Id="rId237" Type="http://schemas.openxmlformats.org/officeDocument/2006/relationships/customXml" Target="../ink/ink119.xml"/><Relationship Id="rId444" Type="http://schemas.openxmlformats.org/officeDocument/2006/relationships/image" Target="../media/image254.png"/><Relationship Id="rId651" Type="http://schemas.openxmlformats.org/officeDocument/2006/relationships/customXml" Target="../ink/ink326.xml"/><Relationship Id="rId290" Type="http://schemas.openxmlformats.org/officeDocument/2006/relationships/image" Target="../media/image177.png"/><Relationship Id="rId304" Type="http://schemas.openxmlformats.org/officeDocument/2006/relationships/image" Target="../media/image184.png"/><Relationship Id="rId388" Type="http://schemas.openxmlformats.org/officeDocument/2006/relationships/image" Target="../media/image226.png"/><Relationship Id="rId511" Type="http://schemas.openxmlformats.org/officeDocument/2006/relationships/customXml" Target="../ink/ink256.xml"/><Relationship Id="rId609" Type="http://schemas.openxmlformats.org/officeDocument/2006/relationships/customXml" Target="../ink/ink305.xml"/><Relationship Id="rId85" Type="http://schemas.openxmlformats.org/officeDocument/2006/relationships/image" Target="../media/image75.png"/><Relationship Id="rId150" Type="http://schemas.openxmlformats.org/officeDocument/2006/relationships/image" Target="../media/image107.png"/><Relationship Id="rId595" Type="http://schemas.openxmlformats.org/officeDocument/2006/relationships/customXml" Target="../ink/ink298.xml"/><Relationship Id="rId248" Type="http://schemas.openxmlformats.org/officeDocument/2006/relationships/image" Target="../media/image156.png"/><Relationship Id="rId455" Type="http://schemas.openxmlformats.org/officeDocument/2006/relationships/customXml" Target="../ink/ink228.xml"/><Relationship Id="rId662" Type="http://schemas.openxmlformats.org/officeDocument/2006/relationships/image" Target="../media/image363.png"/><Relationship Id="rId12" Type="http://schemas.openxmlformats.org/officeDocument/2006/relationships/customXml" Target="../ink/ink6.xml"/><Relationship Id="rId108" Type="http://schemas.openxmlformats.org/officeDocument/2006/relationships/customXml" Target="../ink/ink54.xml"/><Relationship Id="rId315" Type="http://schemas.openxmlformats.org/officeDocument/2006/relationships/customXml" Target="../ink/ink158.xml"/><Relationship Id="rId522" Type="http://schemas.openxmlformats.org/officeDocument/2006/relationships/image" Target="../media/image293.png"/><Relationship Id="rId96" Type="http://schemas.openxmlformats.org/officeDocument/2006/relationships/customXml" Target="../ink/ink48.xml"/><Relationship Id="rId161" Type="http://schemas.openxmlformats.org/officeDocument/2006/relationships/customXml" Target="../ink/ink81.xml"/><Relationship Id="rId399" Type="http://schemas.openxmlformats.org/officeDocument/2006/relationships/customXml" Target="../ink/ink200.xml"/><Relationship Id="rId259" Type="http://schemas.openxmlformats.org/officeDocument/2006/relationships/customXml" Target="../ink/ink130.xml"/><Relationship Id="rId466" Type="http://schemas.openxmlformats.org/officeDocument/2006/relationships/image" Target="../media/image265.png"/><Relationship Id="rId673" Type="http://schemas.openxmlformats.org/officeDocument/2006/relationships/customXml" Target="../ink/ink337.xml"/><Relationship Id="rId23" Type="http://schemas.openxmlformats.org/officeDocument/2006/relationships/image" Target="../media/image44.png"/><Relationship Id="rId119" Type="http://schemas.openxmlformats.org/officeDocument/2006/relationships/image" Target="../media/image92.png"/><Relationship Id="rId326" Type="http://schemas.openxmlformats.org/officeDocument/2006/relationships/image" Target="../media/image195.png"/><Relationship Id="rId533" Type="http://schemas.openxmlformats.org/officeDocument/2006/relationships/customXml" Target="../ink/ink267.xml"/><Relationship Id="rId172" Type="http://schemas.openxmlformats.org/officeDocument/2006/relationships/image" Target="../media/image118.png"/><Relationship Id="rId477" Type="http://schemas.openxmlformats.org/officeDocument/2006/relationships/customXml" Target="../ink/ink239.xml"/><Relationship Id="rId600" Type="http://schemas.openxmlformats.org/officeDocument/2006/relationships/image" Target="../media/image332.png"/><Relationship Id="rId684" Type="http://schemas.openxmlformats.org/officeDocument/2006/relationships/image" Target="../media/image374.png"/><Relationship Id="rId337" Type="http://schemas.openxmlformats.org/officeDocument/2006/relationships/customXml" Target="../ink/ink169.xml"/><Relationship Id="rId34" Type="http://schemas.openxmlformats.org/officeDocument/2006/relationships/customXml" Target="../ink/ink17.xml"/><Relationship Id="rId544" Type="http://schemas.openxmlformats.org/officeDocument/2006/relationships/image" Target="../media/image304.png"/><Relationship Id="rId183" Type="http://schemas.openxmlformats.org/officeDocument/2006/relationships/customXml" Target="../ink/ink92.xml"/><Relationship Id="rId390" Type="http://schemas.openxmlformats.org/officeDocument/2006/relationships/image" Target="../media/image227.png"/><Relationship Id="rId404" Type="http://schemas.openxmlformats.org/officeDocument/2006/relationships/image" Target="../media/image234.png"/><Relationship Id="rId611" Type="http://schemas.openxmlformats.org/officeDocument/2006/relationships/customXml" Target="../ink/ink306.xml"/><Relationship Id="rId250" Type="http://schemas.openxmlformats.org/officeDocument/2006/relationships/image" Target="../media/image157.png"/><Relationship Id="rId488" Type="http://schemas.openxmlformats.org/officeDocument/2006/relationships/image" Target="../media/image276.png"/><Relationship Id="rId709" Type="http://schemas.openxmlformats.org/officeDocument/2006/relationships/image" Target="../media/image389.png"/><Relationship Id="rId45" Type="http://schemas.openxmlformats.org/officeDocument/2006/relationships/image" Target="../media/image55.png"/><Relationship Id="rId110" Type="http://schemas.openxmlformats.org/officeDocument/2006/relationships/customXml" Target="../ink/ink55.xml"/><Relationship Id="rId348" Type="http://schemas.openxmlformats.org/officeDocument/2006/relationships/image" Target="../media/image206.png"/><Relationship Id="rId555" Type="http://schemas.openxmlformats.org/officeDocument/2006/relationships/customXml" Target="../ink/ink278.xml"/><Relationship Id="rId194" Type="http://schemas.openxmlformats.org/officeDocument/2006/relationships/image" Target="../media/image129.png"/><Relationship Id="rId208" Type="http://schemas.openxmlformats.org/officeDocument/2006/relationships/image" Target="../media/image136.png"/><Relationship Id="rId415" Type="http://schemas.openxmlformats.org/officeDocument/2006/relationships/customXml" Target="../ink/ink208.xml"/><Relationship Id="rId622" Type="http://schemas.openxmlformats.org/officeDocument/2006/relationships/image" Target="../media/image343.png"/><Relationship Id="rId261" Type="http://schemas.openxmlformats.org/officeDocument/2006/relationships/customXml" Target="../ink/ink131.xml"/><Relationship Id="rId499" Type="http://schemas.openxmlformats.org/officeDocument/2006/relationships/customXml" Target="../ink/ink250.xml"/><Relationship Id="rId56" Type="http://schemas.openxmlformats.org/officeDocument/2006/relationships/customXml" Target="../ink/ink28.xml"/><Relationship Id="rId359" Type="http://schemas.openxmlformats.org/officeDocument/2006/relationships/customXml" Target="../ink/ink180.xml"/><Relationship Id="rId566" Type="http://schemas.openxmlformats.org/officeDocument/2006/relationships/image" Target="../media/image315.png"/><Relationship Id="rId121" Type="http://schemas.openxmlformats.org/officeDocument/2006/relationships/image" Target="../media/image93.png"/><Relationship Id="rId219" Type="http://schemas.openxmlformats.org/officeDocument/2006/relationships/customXml" Target="../ink/ink110.xml"/><Relationship Id="rId426" Type="http://schemas.openxmlformats.org/officeDocument/2006/relationships/image" Target="../media/image245.png"/><Relationship Id="rId633" Type="http://schemas.openxmlformats.org/officeDocument/2006/relationships/customXml" Target="../ink/ink317.xml"/><Relationship Id="rId67" Type="http://schemas.openxmlformats.org/officeDocument/2006/relationships/image" Target="../media/image66.png"/><Relationship Id="rId272" Type="http://schemas.openxmlformats.org/officeDocument/2006/relationships/image" Target="../media/image168.png"/><Relationship Id="rId577" Type="http://schemas.openxmlformats.org/officeDocument/2006/relationships/customXml" Target="../ink/ink289.xml"/><Relationship Id="rId700" Type="http://schemas.openxmlformats.org/officeDocument/2006/relationships/customXml" Target="../ink/ink349.xml"/><Relationship Id="rId132" Type="http://schemas.openxmlformats.org/officeDocument/2006/relationships/customXml" Target="../ink/ink66.xml"/><Relationship Id="rId437" Type="http://schemas.openxmlformats.org/officeDocument/2006/relationships/customXml" Target="../ink/ink219.xml"/><Relationship Id="rId644" Type="http://schemas.openxmlformats.org/officeDocument/2006/relationships/image" Target="../media/image354.png"/><Relationship Id="rId283" Type="http://schemas.openxmlformats.org/officeDocument/2006/relationships/customXml" Target="../ink/ink142.xml"/><Relationship Id="rId490" Type="http://schemas.openxmlformats.org/officeDocument/2006/relationships/image" Target="../media/image277.png"/><Relationship Id="rId504" Type="http://schemas.openxmlformats.org/officeDocument/2006/relationships/image" Target="../media/image284.png"/><Relationship Id="rId711" Type="http://schemas.openxmlformats.org/officeDocument/2006/relationships/image" Target="../media/image390.png"/><Relationship Id="rId78" Type="http://schemas.openxmlformats.org/officeDocument/2006/relationships/customXml" Target="../ink/ink39.xml"/><Relationship Id="rId143" Type="http://schemas.openxmlformats.org/officeDocument/2006/relationships/customXml" Target="../ink/ink72.xml"/><Relationship Id="rId350" Type="http://schemas.openxmlformats.org/officeDocument/2006/relationships/image" Target="../media/image207.png"/><Relationship Id="rId588" Type="http://schemas.openxmlformats.org/officeDocument/2006/relationships/image" Target="../media/image326.png"/><Relationship Id="rId9" Type="http://schemas.openxmlformats.org/officeDocument/2006/relationships/image" Target="../media/image3710.png"/><Relationship Id="rId210" Type="http://schemas.openxmlformats.org/officeDocument/2006/relationships/image" Target="../media/image137.png"/><Relationship Id="rId448" Type="http://schemas.openxmlformats.org/officeDocument/2006/relationships/image" Target="../media/image256.png"/><Relationship Id="rId655" Type="http://schemas.openxmlformats.org/officeDocument/2006/relationships/customXml" Target="../ink/ink328.xml"/><Relationship Id="rId294" Type="http://schemas.openxmlformats.org/officeDocument/2006/relationships/image" Target="../media/image179.png"/><Relationship Id="rId308" Type="http://schemas.openxmlformats.org/officeDocument/2006/relationships/image" Target="../media/image186.png"/><Relationship Id="rId515" Type="http://schemas.openxmlformats.org/officeDocument/2006/relationships/customXml" Target="../ink/ink258.xml"/><Relationship Id="rId722" Type="http://schemas.openxmlformats.org/officeDocument/2006/relationships/customXml" Target="../ink/ink360.xml"/><Relationship Id="rId89" Type="http://schemas.openxmlformats.org/officeDocument/2006/relationships/image" Target="../media/image77.png"/><Relationship Id="rId154" Type="http://schemas.openxmlformats.org/officeDocument/2006/relationships/image" Target="../media/image109.png"/><Relationship Id="rId361" Type="http://schemas.openxmlformats.org/officeDocument/2006/relationships/customXml" Target="../ink/ink181.xml"/><Relationship Id="rId599" Type="http://schemas.openxmlformats.org/officeDocument/2006/relationships/customXml" Target="../ink/ink300.xml"/><Relationship Id="rId459" Type="http://schemas.openxmlformats.org/officeDocument/2006/relationships/customXml" Target="../ink/ink230.xml"/><Relationship Id="rId666" Type="http://schemas.openxmlformats.org/officeDocument/2006/relationships/image" Target="../media/image365.png"/><Relationship Id="rId16" Type="http://schemas.openxmlformats.org/officeDocument/2006/relationships/customXml" Target="../ink/ink8.xml"/><Relationship Id="rId221" Type="http://schemas.openxmlformats.org/officeDocument/2006/relationships/customXml" Target="../ink/ink111.xml"/><Relationship Id="rId319" Type="http://schemas.openxmlformats.org/officeDocument/2006/relationships/customXml" Target="../ink/ink160.xml"/><Relationship Id="rId526" Type="http://schemas.openxmlformats.org/officeDocument/2006/relationships/image" Target="../media/image295.png"/><Relationship Id="rId165" Type="http://schemas.openxmlformats.org/officeDocument/2006/relationships/customXml" Target="../ink/ink83.xml"/><Relationship Id="rId372" Type="http://schemas.openxmlformats.org/officeDocument/2006/relationships/image" Target="../media/image218.png"/><Relationship Id="rId677" Type="http://schemas.openxmlformats.org/officeDocument/2006/relationships/customXml" Target="../ink/ink339.xml"/><Relationship Id="rId232" Type="http://schemas.openxmlformats.org/officeDocument/2006/relationships/image" Target="../media/image148.png"/><Relationship Id="rId27" Type="http://schemas.openxmlformats.org/officeDocument/2006/relationships/image" Target="../media/image46.png"/><Relationship Id="rId537" Type="http://schemas.openxmlformats.org/officeDocument/2006/relationships/customXml" Target="../ink/ink269.xml"/><Relationship Id="rId80" Type="http://schemas.openxmlformats.org/officeDocument/2006/relationships/customXml" Target="../ink/ink40.xml"/><Relationship Id="rId176" Type="http://schemas.openxmlformats.org/officeDocument/2006/relationships/image" Target="../media/image120.png"/><Relationship Id="rId383" Type="http://schemas.openxmlformats.org/officeDocument/2006/relationships/customXml" Target="../ink/ink192.xml"/><Relationship Id="rId590" Type="http://schemas.openxmlformats.org/officeDocument/2006/relationships/image" Target="../media/image327.png"/><Relationship Id="rId604" Type="http://schemas.openxmlformats.org/officeDocument/2006/relationships/image" Target="../media/image334.png"/><Relationship Id="rId243" Type="http://schemas.openxmlformats.org/officeDocument/2006/relationships/customXml" Target="../ink/ink122.xml"/><Relationship Id="rId450" Type="http://schemas.openxmlformats.org/officeDocument/2006/relationships/image" Target="../media/image257.png"/><Relationship Id="rId688" Type="http://schemas.openxmlformats.org/officeDocument/2006/relationships/image" Target="../media/image376.png"/><Relationship Id="rId38" Type="http://schemas.openxmlformats.org/officeDocument/2006/relationships/customXml" Target="../ink/ink19.xml"/><Relationship Id="rId103" Type="http://schemas.openxmlformats.org/officeDocument/2006/relationships/image" Target="../media/image84.png"/><Relationship Id="rId310" Type="http://schemas.openxmlformats.org/officeDocument/2006/relationships/image" Target="../media/image187.png"/><Relationship Id="rId548" Type="http://schemas.openxmlformats.org/officeDocument/2006/relationships/image" Target="../media/image306.png"/><Relationship Id="rId91" Type="http://schemas.openxmlformats.org/officeDocument/2006/relationships/image" Target="../media/image78.png"/><Relationship Id="rId187" Type="http://schemas.openxmlformats.org/officeDocument/2006/relationships/customXml" Target="../ink/ink94.xml"/><Relationship Id="rId394" Type="http://schemas.openxmlformats.org/officeDocument/2006/relationships/image" Target="../media/image229.png"/><Relationship Id="rId408" Type="http://schemas.openxmlformats.org/officeDocument/2006/relationships/image" Target="../media/image236.png"/><Relationship Id="rId615" Type="http://schemas.openxmlformats.org/officeDocument/2006/relationships/customXml" Target="../ink/ink308.xml"/><Relationship Id="rId254" Type="http://schemas.openxmlformats.org/officeDocument/2006/relationships/image" Target="../media/image159.png"/><Relationship Id="rId699" Type="http://schemas.openxmlformats.org/officeDocument/2006/relationships/image" Target="../media/image384.png"/><Relationship Id="rId49" Type="http://schemas.openxmlformats.org/officeDocument/2006/relationships/image" Target="../media/image57.png"/><Relationship Id="rId114" Type="http://schemas.openxmlformats.org/officeDocument/2006/relationships/customXml" Target="../ink/ink57.xml"/><Relationship Id="rId461" Type="http://schemas.openxmlformats.org/officeDocument/2006/relationships/customXml" Target="../ink/ink231.xml"/><Relationship Id="rId559" Type="http://schemas.openxmlformats.org/officeDocument/2006/relationships/customXml" Target="../ink/ink280.xml"/><Relationship Id="rId198" Type="http://schemas.openxmlformats.org/officeDocument/2006/relationships/image" Target="../media/image131.png"/><Relationship Id="rId321" Type="http://schemas.openxmlformats.org/officeDocument/2006/relationships/customXml" Target="../ink/ink161.xml"/><Relationship Id="rId419" Type="http://schemas.openxmlformats.org/officeDocument/2006/relationships/customXml" Target="../ink/ink210.xml"/><Relationship Id="rId626" Type="http://schemas.openxmlformats.org/officeDocument/2006/relationships/image" Target="../media/image345.png"/><Relationship Id="rId265" Type="http://schemas.openxmlformats.org/officeDocument/2006/relationships/customXml" Target="../ink/ink133.xml"/><Relationship Id="rId472" Type="http://schemas.openxmlformats.org/officeDocument/2006/relationships/image" Target="../media/image268.png"/><Relationship Id="rId125" Type="http://schemas.openxmlformats.org/officeDocument/2006/relationships/image" Target="../media/image95.png"/><Relationship Id="rId332" Type="http://schemas.openxmlformats.org/officeDocument/2006/relationships/image" Target="../media/image198.png"/><Relationship Id="rId637" Type="http://schemas.openxmlformats.org/officeDocument/2006/relationships/customXml" Target="../ink/ink319.xml"/><Relationship Id="rId276" Type="http://schemas.openxmlformats.org/officeDocument/2006/relationships/image" Target="../media/image170.png"/><Relationship Id="rId483" Type="http://schemas.openxmlformats.org/officeDocument/2006/relationships/customXml" Target="../ink/ink242.xml"/><Relationship Id="rId690" Type="http://schemas.openxmlformats.org/officeDocument/2006/relationships/image" Target="../media/image377.png"/><Relationship Id="rId704" Type="http://schemas.openxmlformats.org/officeDocument/2006/relationships/customXml" Target="../ink/ink351.xml"/><Relationship Id="rId40" Type="http://schemas.openxmlformats.org/officeDocument/2006/relationships/customXml" Target="../ink/ink20.xml"/><Relationship Id="rId136" Type="http://schemas.openxmlformats.org/officeDocument/2006/relationships/image" Target="../media/image100.png"/><Relationship Id="rId343" Type="http://schemas.openxmlformats.org/officeDocument/2006/relationships/customXml" Target="../ink/ink172.xml"/><Relationship Id="rId550" Type="http://schemas.openxmlformats.org/officeDocument/2006/relationships/image" Target="../media/image307.png"/><Relationship Id="rId203" Type="http://schemas.openxmlformats.org/officeDocument/2006/relationships/customXml" Target="../ink/ink102.xml"/><Relationship Id="rId648" Type="http://schemas.openxmlformats.org/officeDocument/2006/relationships/image" Target="../media/image35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9.png"/><Relationship Id="rId3" Type="http://schemas.openxmlformats.org/officeDocument/2006/relationships/image" Target="../media/image381.png"/><Relationship Id="rId7" Type="http://schemas.openxmlformats.org/officeDocument/2006/relationships/image" Target="../media/image39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95.jpeg"/><Relationship Id="rId5" Type="http://schemas.openxmlformats.org/officeDocument/2006/relationships/image" Target="../media/image394.png"/><Relationship Id="rId4" Type="http://schemas.openxmlformats.org/officeDocument/2006/relationships/image" Target="../media/image382.png"/><Relationship Id="rId9" Type="http://schemas.openxmlformats.org/officeDocument/2006/relationships/image" Target="../media/image40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1.png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2.jpeg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4.png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40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9.png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0.png"/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3.png"/><Relationship Id="rId2" Type="http://schemas.openxmlformats.org/officeDocument/2006/relationships/image" Target="../media/image412.png"/><Relationship Id="rId1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4.png"/><Relationship Id="rId2" Type="http://schemas.openxmlformats.org/officeDocument/2006/relationships/image" Target="../media/image412.png"/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57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415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417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2.tiff"/><Relationship Id="rId3" Type="http://schemas.openxmlformats.org/officeDocument/2006/relationships/oleObject" Target="../embeddings/oleObject14.bin"/><Relationship Id="rId7" Type="http://schemas.openxmlformats.org/officeDocument/2006/relationships/image" Target="../media/image421.tiff"/><Relationship Id="rId12" Type="http://schemas.openxmlformats.org/officeDocument/2006/relationships/image" Target="../media/image426.tiff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8.xml"/><Relationship Id="rId6" Type="http://schemas.openxmlformats.org/officeDocument/2006/relationships/image" Target="../media/image420.tiff"/><Relationship Id="rId11" Type="http://schemas.openxmlformats.org/officeDocument/2006/relationships/image" Target="../media/image425.tiff"/><Relationship Id="rId5" Type="http://schemas.openxmlformats.org/officeDocument/2006/relationships/image" Target="../media/image419.tiff"/><Relationship Id="rId10" Type="http://schemas.openxmlformats.org/officeDocument/2006/relationships/image" Target="../media/image424.tiff"/><Relationship Id="rId4" Type="http://schemas.openxmlformats.org/officeDocument/2006/relationships/image" Target="../media/image418.emf"/><Relationship Id="rId9" Type="http://schemas.openxmlformats.org/officeDocument/2006/relationships/image" Target="../media/image423.tif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0.jpeg"/><Relationship Id="rId3" Type="http://schemas.openxmlformats.org/officeDocument/2006/relationships/image" Target="../media/image427.png"/><Relationship Id="rId7" Type="http://schemas.openxmlformats.org/officeDocument/2006/relationships/image" Target="../media/image429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9.xml"/><Relationship Id="rId6" Type="http://schemas.openxmlformats.org/officeDocument/2006/relationships/image" Target="../media/image428.png"/><Relationship Id="rId5" Type="http://schemas.openxmlformats.org/officeDocument/2006/relationships/image" Target="../media/image418.emf"/><Relationship Id="rId4" Type="http://schemas.openxmlformats.org/officeDocument/2006/relationships/oleObject" Target="../embeddings/oleObject14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60.xml"/><Relationship Id="rId6" Type="http://schemas.openxmlformats.org/officeDocument/2006/relationships/image" Target="../media/image432.png"/><Relationship Id="rId5" Type="http://schemas.openxmlformats.org/officeDocument/2006/relationships/image" Target="../media/image431.png"/><Relationship Id="rId4" Type="http://schemas.openxmlformats.org/officeDocument/2006/relationships/image" Target="../media/image418.emf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4.tiff"/><Relationship Id="rId1" Type="http://schemas.openxmlformats.org/officeDocument/2006/relationships/slideLayout" Target="../slideLayouts/slideLayout3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1.xml"/><Relationship Id="rId4" Type="http://schemas.openxmlformats.org/officeDocument/2006/relationships/image" Target="../media/image19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2.xml"/><Relationship Id="rId4" Type="http://schemas.openxmlformats.org/officeDocument/2006/relationships/image" Target="../media/image19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3.xml"/><Relationship Id="rId4" Type="http://schemas.openxmlformats.org/officeDocument/2006/relationships/image" Target="../media/image19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4.xml"/><Relationship Id="rId4" Type="http://schemas.openxmlformats.org/officeDocument/2006/relationships/image" Target="../media/image1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4.xml"/><Relationship Id="rId4" Type="http://schemas.openxmlformats.org/officeDocument/2006/relationships/oleObject" Target="../embeddings/oleObject10.bin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3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55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23.png"/><Relationship Id="rId12" Type="http://schemas.openxmlformats.org/officeDocument/2006/relationships/image" Target="../media/image28.sv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56.xml"/><Relationship Id="rId6" Type="http://schemas.openxmlformats.org/officeDocument/2006/relationships/image" Target="../media/image22.sv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svg"/><Relationship Id="rId4" Type="http://schemas.openxmlformats.org/officeDocument/2006/relationships/image" Target="../media/image16.emf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2.svg"/><Relationship Id="rId11" Type="http://schemas.openxmlformats.org/officeDocument/2006/relationships/image" Target="../media/image37.jpeg"/><Relationship Id="rId5" Type="http://schemas.openxmlformats.org/officeDocument/2006/relationships/image" Target="../media/image31.png"/><Relationship Id="rId10" Type="http://schemas.openxmlformats.org/officeDocument/2006/relationships/image" Target="../media/image36.svg"/><Relationship Id="rId4" Type="http://schemas.openxmlformats.org/officeDocument/2006/relationships/image" Target="../media/image30.svg"/><Relationship Id="rId9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A2792FB-9053-44B1-AF82-A510EBD71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2202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04" imgH="204" progId="TCLayout.ActiveDocument.1">
                  <p:embed/>
                </p:oleObj>
              </mc:Choice>
              <mc:Fallback>
                <p:oleObj name="Diapositiva think-cell" r:id="rId4" imgW="204" imgH="20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2792FB-9053-44B1-AF82-A510EBD71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magine 6">
            <a:extLst>
              <a:ext uri="{FF2B5EF4-FFF2-40B4-BE49-F238E27FC236}">
                <a16:creationId xmlns:a16="http://schemas.microsoft.com/office/drawing/2014/main" id="{9A8AF989-A249-0B99-0DCD-A8BC076FD82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27" y="0"/>
            <a:ext cx="12187573" cy="62738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0"/>
            <a:ext cx="12192000" cy="3192380"/>
          </a:xfrm>
          <a:prstGeom prst="rect">
            <a:avLst/>
          </a:prstGeom>
          <a:gradFill>
            <a:gsLst>
              <a:gs pos="0">
                <a:schemeClr val="tx1">
                  <a:alpha val="65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sz="2000" noProof="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-264960" y="1506154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2600"/>
            <a:ext cx="11233150" cy="927101"/>
          </a:xfrm>
        </p:spPr>
        <p:txBody>
          <a:bodyPr vert="horz"/>
          <a:lstStyle/>
          <a:p>
            <a:pPr rtl="0">
              <a:lnSpc>
                <a:spcPct val="100000"/>
              </a:lnSpc>
            </a:pPr>
            <a:r>
              <a:rPr lang="es-es" sz="2000" b="0" i="0" u="none" baseline="0" dirty="0">
                <a:solidFill>
                  <a:schemeClr val="bg1"/>
                </a:solidFill>
                <a:latin typeface="Roboto regular" panose="02000000000000000000"/>
                <a:ea typeface="Roboto" panose="02000000000000000000" pitchFamily="2" charset="0"/>
              </a:rPr>
              <a:t>Aspiradores industriales para separación de virutas y refrigerante</a:t>
            </a:r>
            <a:br>
              <a:rPr lang="es-es" dirty="0">
                <a:solidFill>
                  <a:schemeClr val="bg1"/>
                </a:solidFill>
              </a:rPr>
            </a:br>
            <a:r>
              <a:rPr lang="es-es" b="0" i="0" u="none" baseline="0" dirty="0">
                <a:solidFill>
                  <a:schemeClr val="bg1"/>
                </a:solidFill>
              </a:rPr>
              <a:t>OIL230</a:t>
            </a:r>
            <a:endParaRPr lang="es-es" sz="1800" b="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3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>
            <a:extLst>
              <a:ext uri="{FF2B5EF4-FFF2-40B4-BE49-F238E27FC236}">
                <a16:creationId xmlns:a16="http://schemas.microsoft.com/office/drawing/2014/main" id="{90E945C3-90FE-EBBF-725E-CC03A4633B6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2600" y="4243493"/>
            <a:ext cx="1827720" cy="1828800"/>
          </a:xfrm>
          <a:prstGeom prst="ellipse">
            <a:avLst/>
          </a:prstGeom>
        </p:spPr>
      </p:pic>
      <p:grpSp>
        <p:nvGrpSpPr>
          <p:cNvPr id="941" name="Group 940">
            <a:extLst>
              <a:ext uri="{FF2B5EF4-FFF2-40B4-BE49-F238E27FC236}">
                <a16:creationId xmlns:a16="http://schemas.microsoft.com/office/drawing/2014/main" id="{CED2B1B7-06D6-21A8-B38E-E31D1C46DDB6}"/>
              </a:ext>
            </a:extLst>
          </p:cNvPr>
          <p:cNvGrpSpPr/>
          <p:nvPr/>
        </p:nvGrpSpPr>
        <p:grpSpPr>
          <a:xfrm>
            <a:off x="4430487" y="2239506"/>
            <a:ext cx="3236100" cy="3231928"/>
            <a:chOff x="4375637" y="2445392"/>
            <a:chExt cx="3236100" cy="3231928"/>
          </a:xfrm>
        </p:grpSpPr>
        <p:grpSp>
          <p:nvGrpSpPr>
            <p:cNvPr id="562" name="Gruppo 561">
              <a:extLst>
                <a:ext uri="{FF2B5EF4-FFF2-40B4-BE49-F238E27FC236}">
                  <a16:creationId xmlns:a16="http://schemas.microsoft.com/office/drawing/2014/main" id="{92519993-36A5-5573-2716-4B98AE6CD091}"/>
                </a:ext>
              </a:extLst>
            </p:cNvPr>
            <p:cNvGrpSpPr>
              <a:grpSpLocks/>
            </p:cNvGrpSpPr>
            <p:nvPr/>
          </p:nvGrpSpPr>
          <p:grpSpPr>
            <a:xfrm>
              <a:off x="4375637" y="2445392"/>
              <a:ext cx="3179328" cy="3152006"/>
              <a:chOff x="3980357" y="2091570"/>
              <a:chExt cx="3687844" cy="3656149"/>
            </a:xfrm>
            <a:effectLst>
              <a:outerShdw blurRad="177800" algn="ctr" rotWithShape="0">
                <a:srgbClr val="000000">
                  <a:alpha val="30000"/>
                </a:srgbClr>
              </a:outerShdw>
            </a:effectLst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4">
                <p14:nvContentPartPr>
                  <p14:cNvPr id="563" name="Input penna 562">
                    <a:extLst>
                      <a:ext uri="{FF2B5EF4-FFF2-40B4-BE49-F238E27FC236}">
                        <a16:creationId xmlns:a16="http://schemas.microsoft.com/office/drawing/2014/main" id="{A4962A9C-4965-E4AB-AA00-64BF3EFB525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010957" y="4294328"/>
                  <a:ext cx="57240" cy="230040"/>
                </p14:xfrm>
              </p:contentPart>
            </mc:Choice>
            <mc:Fallback xmlns="">
              <p:pic>
                <p:nvPicPr>
                  <p:cNvPr id="563" name="Input penna 562">
                    <a:extLst>
                      <a:ext uri="{FF2B5EF4-FFF2-40B4-BE49-F238E27FC236}">
                        <a16:creationId xmlns:a16="http://schemas.microsoft.com/office/drawing/2014/main" id="{A4962A9C-4965-E4AB-AA00-64BF3EFB525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"/>
                  <a:stretch>
                    <a:fillRect/>
                  </a:stretch>
                </p:blipFill>
                <p:spPr>
                  <a:xfrm>
                    <a:off x="4005906" y="4289318"/>
                    <a:ext cx="67341" cy="2400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">
                <p14:nvContentPartPr>
                  <p14:cNvPr id="564" name="Input penna 563">
                    <a:extLst>
                      <a:ext uri="{FF2B5EF4-FFF2-40B4-BE49-F238E27FC236}">
                        <a16:creationId xmlns:a16="http://schemas.microsoft.com/office/drawing/2014/main" id="{ABAD314E-5B6D-443C-746C-EEE7CF7A30F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3986117" y="4270568"/>
                  <a:ext cx="132120" cy="596880"/>
                </p14:xfrm>
              </p:contentPart>
            </mc:Choice>
            <mc:Fallback xmlns="">
              <p:pic>
                <p:nvPicPr>
                  <p:cNvPr id="564" name="Input penna 563">
                    <a:extLst>
                      <a:ext uri="{FF2B5EF4-FFF2-40B4-BE49-F238E27FC236}">
                        <a16:creationId xmlns:a16="http://schemas.microsoft.com/office/drawing/2014/main" id="{ABAD314E-5B6D-443C-746C-EEE7CF7A30F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"/>
                  <a:stretch>
                    <a:fillRect/>
                  </a:stretch>
                </p:blipFill>
                <p:spPr>
                  <a:xfrm>
                    <a:off x="3981116" y="4265559"/>
                    <a:ext cx="142123" cy="60689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">
                <p14:nvContentPartPr>
                  <p14:cNvPr id="565" name="Input penna 564">
                    <a:extLst>
                      <a:ext uri="{FF2B5EF4-FFF2-40B4-BE49-F238E27FC236}">
                        <a16:creationId xmlns:a16="http://schemas.microsoft.com/office/drawing/2014/main" id="{369F9CF8-95AC-A104-368E-07A3ECD18E9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440042" y="4979839"/>
                  <a:ext cx="1431000" cy="334800"/>
                </p14:xfrm>
              </p:contentPart>
            </mc:Choice>
            <mc:Fallback xmlns="">
              <p:pic>
                <p:nvPicPr>
                  <p:cNvPr id="565" name="Input penna 564">
                    <a:extLst>
                      <a:ext uri="{FF2B5EF4-FFF2-40B4-BE49-F238E27FC236}">
                        <a16:creationId xmlns:a16="http://schemas.microsoft.com/office/drawing/2014/main" id="{369F9CF8-95AC-A104-368E-07A3ECD18E9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"/>
                  <a:stretch>
                    <a:fillRect/>
                  </a:stretch>
                </p:blipFill>
                <p:spPr>
                  <a:xfrm>
                    <a:off x="5435031" y="4974830"/>
                    <a:ext cx="1441022" cy="34481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">
                <p14:nvContentPartPr>
                  <p14:cNvPr id="566" name="Input penna 565">
                    <a:extLst>
                      <a:ext uri="{FF2B5EF4-FFF2-40B4-BE49-F238E27FC236}">
                        <a16:creationId xmlns:a16="http://schemas.microsoft.com/office/drawing/2014/main" id="{E1B8CE51-097E-5641-3B7E-851B7C958C7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716844" y="5268433"/>
                  <a:ext cx="133200" cy="26280"/>
                </p14:xfrm>
              </p:contentPart>
            </mc:Choice>
            <mc:Fallback xmlns="">
              <p:pic>
                <p:nvPicPr>
                  <p:cNvPr id="566" name="Input penna 565">
                    <a:extLst>
                      <a:ext uri="{FF2B5EF4-FFF2-40B4-BE49-F238E27FC236}">
                        <a16:creationId xmlns:a16="http://schemas.microsoft.com/office/drawing/2014/main" id="{E1B8CE51-097E-5641-3B7E-851B7C958C7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"/>
                  <a:stretch>
                    <a:fillRect/>
                  </a:stretch>
                </p:blipFill>
                <p:spPr>
                  <a:xfrm>
                    <a:off x="6711818" y="5263427"/>
                    <a:ext cx="143253" cy="3629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">
                <p14:nvContentPartPr>
                  <p14:cNvPr id="567" name="Input penna 566">
                    <a:extLst>
                      <a:ext uri="{FF2B5EF4-FFF2-40B4-BE49-F238E27FC236}">
                        <a16:creationId xmlns:a16="http://schemas.microsoft.com/office/drawing/2014/main" id="{EA9D7790-2C29-DBA4-86E6-A46ED28A592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41404" y="4838953"/>
                  <a:ext cx="755280" cy="440640"/>
                </p14:xfrm>
              </p:contentPart>
            </mc:Choice>
            <mc:Fallback xmlns="">
              <p:pic>
                <p:nvPicPr>
                  <p:cNvPr id="567" name="Input penna 566">
                    <a:extLst>
                      <a:ext uri="{FF2B5EF4-FFF2-40B4-BE49-F238E27FC236}">
                        <a16:creationId xmlns:a16="http://schemas.microsoft.com/office/drawing/2014/main" id="{EA9D7790-2C29-DBA4-86E6-A46ED28A592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"/>
                  <a:stretch>
                    <a:fillRect/>
                  </a:stretch>
                </p:blipFill>
                <p:spPr>
                  <a:xfrm>
                    <a:off x="6836394" y="4833941"/>
                    <a:ext cx="765300" cy="45066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">
                <p14:nvContentPartPr>
                  <p14:cNvPr id="568" name="Input penna 567">
                    <a:extLst>
                      <a:ext uri="{FF2B5EF4-FFF2-40B4-BE49-F238E27FC236}">
                        <a16:creationId xmlns:a16="http://schemas.microsoft.com/office/drawing/2014/main" id="{648B83D8-4DA2-0D9E-8D98-94103AD2A1C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101317" y="4844768"/>
                  <a:ext cx="129600" cy="38160"/>
                </p14:xfrm>
              </p:contentPart>
            </mc:Choice>
            <mc:Fallback xmlns="">
              <p:pic>
                <p:nvPicPr>
                  <p:cNvPr id="568" name="Input penna 567">
                    <a:extLst>
                      <a:ext uri="{FF2B5EF4-FFF2-40B4-BE49-F238E27FC236}">
                        <a16:creationId xmlns:a16="http://schemas.microsoft.com/office/drawing/2014/main" id="{648B83D8-4DA2-0D9E-8D98-94103AD2A1C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"/>
                  <a:stretch>
                    <a:fillRect/>
                  </a:stretch>
                </p:blipFill>
                <p:spPr>
                  <a:xfrm>
                    <a:off x="4096300" y="4839791"/>
                    <a:ext cx="139634" cy="4811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6">
                <p14:nvContentPartPr>
                  <p14:cNvPr id="569" name="Input penna 568">
                    <a:extLst>
                      <a:ext uri="{FF2B5EF4-FFF2-40B4-BE49-F238E27FC236}">
                        <a16:creationId xmlns:a16="http://schemas.microsoft.com/office/drawing/2014/main" id="{B64CC482-52D4-6BA0-D54B-F4BD165AAAA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188437" y="4793288"/>
                  <a:ext cx="4320" cy="44280"/>
                </p14:xfrm>
              </p:contentPart>
            </mc:Choice>
            <mc:Fallback xmlns="">
              <p:pic>
                <p:nvPicPr>
                  <p:cNvPr id="569" name="Input penna 568">
                    <a:extLst>
                      <a:ext uri="{FF2B5EF4-FFF2-40B4-BE49-F238E27FC236}">
                        <a16:creationId xmlns:a16="http://schemas.microsoft.com/office/drawing/2014/main" id="{B64CC482-52D4-6BA0-D54B-F4BD165AAAA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7"/>
                  <a:stretch>
                    <a:fillRect/>
                  </a:stretch>
                </p:blipFill>
                <p:spPr>
                  <a:xfrm>
                    <a:off x="4183253" y="4788275"/>
                    <a:ext cx="14688" cy="54306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8">
                <p14:nvContentPartPr>
                  <p14:cNvPr id="570" name="Input penna 569">
                    <a:extLst>
                      <a:ext uri="{FF2B5EF4-FFF2-40B4-BE49-F238E27FC236}">
                        <a16:creationId xmlns:a16="http://schemas.microsoft.com/office/drawing/2014/main" id="{2D8F0F8F-77DB-042B-E29A-474A672C465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194917" y="4832168"/>
                  <a:ext cx="35640" cy="8280"/>
                </p14:xfrm>
              </p:contentPart>
            </mc:Choice>
            <mc:Fallback xmlns="">
              <p:pic>
                <p:nvPicPr>
                  <p:cNvPr id="570" name="Input penna 569">
                    <a:extLst>
                      <a:ext uri="{FF2B5EF4-FFF2-40B4-BE49-F238E27FC236}">
                        <a16:creationId xmlns:a16="http://schemas.microsoft.com/office/drawing/2014/main" id="{2D8F0F8F-77DB-042B-E29A-474A672C465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9"/>
                  <a:stretch>
                    <a:fillRect/>
                  </a:stretch>
                </p:blipFill>
                <p:spPr>
                  <a:xfrm>
                    <a:off x="4189944" y="4827200"/>
                    <a:ext cx="45586" cy="18216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0">
                <p14:nvContentPartPr>
                  <p14:cNvPr id="571" name="Input penna 570">
                    <a:extLst>
                      <a:ext uri="{FF2B5EF4-FFF2-40B4-BE49-F238E27FC236}">
                        <a16:creationId xmlns:a16="http://schemas.microsoft.com/office/drawing/2014/main" id="{4039F2D1-832C-545E-9DA9-F8EA948AED0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040837" y="4543808"/>
                  <a:ext cx="311760" cy="85680"/>
                </p14:xfrm>
              </p:contentPart>
            </mc:Choice>
            <mc:Fallback xmlns="">
              <p:pic>
                <p:nvPicPr>
                  <p:cNvPr id="571" name="Input penna 570">
                    <a:extLst>
                      <a:ext uri="{FF2B5EF4-FFF2-40B4-BE49-F238E27FC236}">
                        <a16:creationId xmlns:a16="http://schemas.microsoft.com/office/drawing/2014/main" id="{4039F2D1-832C-545E-9DA9-F8EA948AED0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1"/>
                  <a:stretch>
                    <a:fillRect/>
                  </a:stretch>
                </p:blipFill>
                <p:spPr>
                  <a:xfrm>
                    <a:off x="4035829" y="4538793"/>
                    <a:ext cx="321776" cy="9571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2">
                <p14:nvContentPartPr>
                  <p14:cNvPr id="572" name="Input penna 571">
                    <a:extLst>
                      <a:ext uri="{FF2B5EF4-FFF2-40B4-BE49-F238E27FC236}">
                        <a16:creationId xmlns:a16="http://schemas.microsoft.com/office/drawing/2014/main" id="{7C10ABD4-98ED-A005-8AC8-7615D0597EA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27397" y="4597808"/>
                  <a:ext cx="27000" cy="2520"/>
                </p14:xfrm>
              </p:contentPart>
            </mc:Choice>
            <mc:Fallback xmlns="">
              <p:pic>
                <p:nvPicPr>
                  <p:cNvPr id="572" name="Input penna 571">
                    <a:extLst>
                      <a:ext uri="{FF2B5EF4-FFF2-40B4-BE49-F238E27FC236}">
                        <a16:creationId xmlns:a16="http://schemas.microsoft.com/office/drawing/2014/main" id="{7C10ABD4-98ED-A005-8AC8-7615D0597EA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3"/>
                  <a:stretch>
                    <a:fillRect/>
                  </a:stretch>
                </p:blipFill>
                <p:spPr>
                  <a:xfrm>
                    <a:off x="4322412" y="4593488"/>
                    <a:ext cx="36969" cy="111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4">
                <p14:nvContentPartPr>
                  <p14:cNvPr id="573" name="Input penna 572">
                    <a:extLst>
                      <a:ext uri="{FF2B5EF4-FFF2-40B4-BE49-F238E27FC236}">
                        <a16:creationId xmlns:a16="http://schemas.microsoft.com/office/drawing/2014/main" id="{C81B5099-E6A0-9046-9F08-314B9DABC86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51157" y="4625888"/>
                  <a:ext cx="3240" cy="1080"/>
                </p14:xfrm>
              </p:contentPart>
            </mc:Choice>
            <mc:Fallback xmlns="">
              <p:pic>
                <p:nvPicPr>
                  <p:cNvPr id="573" name="Input penna 572">
                    <a:extLst>
                      <a:ext uri="{FF2B5EF4-FFF2-40B4-BE49-F238E27FC236}">
                        <a16:creationId xmlns:a16="http://schemas.microsoft.com/office/drawing/2014/main" id="{C81B5099-E6A0-9046-9F08-314B9DABC86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5"/>
                  <a:stretch>
                    <a:fillRect/>
                  </a:stretch>
                </p:blipFill>
                <p:spPr>
                  <a:xfrm>
                    <a:off x="4346297" y="4621568"/>
                    <a:ext cx="12960" cy="9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6">
                <p14:nvContentPartPr>
                  <p14:cNvPr id="574" name="Input penna 573">
                    <a:extLst>
                      <a:ext uri="{FF2B5EF4-FFF2-40B4-BE49-F238E27FC236}">
                        <a16:creationId xmlns:a16="http://schemas.microsoft.com/office/drawing/2014/main" id="{8C074E92-F639-A4AA-6CFF-8E7B7264A5A9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97116" y="4723778"/>
                  <a:ext cx="1440" cy="10800"/>
                </p14:xfrm>
              </p:contentPart>
            </mc:Choice>
            <mc:Fallback xmlns="">
              <p:pic>
                <p:nvPicPr>
                  <p:cNvPr id="574" name="Input penna 573">
                    <a:extLst>
                      <a:ext uri="{FF2B5EF4-FFF2-40B4-BE49-F238E27FC236}">
                        <a16:creationId xmlns:a16="http://schemas.microsoft.com/office/drawing/2014/main" id="{8C074E92-F639-A4AA-6CFF-8E7B7264A5A9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7"/>
                  <a:stretch>
                    <a:fillRect/>
                  </a:stretch>
                </p:blipFill>
                <p:spPr>
                  <a:xfrm>
                    <a:off x="4392796" y="4718594"/>
                    <a:ext cx="10080" cy="2116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8">
                <p14:nvContentPartPr>
                  <p14:cNvPr id="575" name="Input penna 574">
                    <a:extLst>
                      <a:ext uri="{FF2B5EF4-FFF2-40B4-BE49-F238E27FC236}">
                        <a16:creationId xmlns:a16="http://schemas.microsoft.com/office/drawing/2014/main" id="{DFDE07AF-19D4-61FA-B0F1-CC542533D13E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487116" y="5024378"/>
                  <a:ext cx="389880" cy="117720"/>
                </p14:xfrm>
              </p:contentPart>
            </mc:Choice>
            <mc:Fallback xmlns="">
              <p:pic>
                <p:nvPicPr>
                  <p:cNvPr id="575" name="Input penna 574">
                    <a:extLst>
                      <a:ext uri="{FF2B5EF4-FFF2-40B4-BE49-F238E27FC236}">
                        <a16:creationId xmlns:a16="http://schemas.microsoft.com/office/drawing/2014/main" id="{DFDE07AF-19D4-61FA-B0F1-CC542533D13E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9"/>
                  <a:stretch>
                    <a:fillRect/>
                  </a:stretch>
                </p:blipFill>
                <p:spPr>
                  <a:xfrm>
                    <a:off x="4482107" y="5019386"/>
                    <a:ext cx="399898" cy="12770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0">
                <p14:nvContentPartPr>
                  <p14:cNvPr id="576" name="Input penna 575">
                    <a:extLst>
                      <a:ext uri="{FF2B5EF4-FFF2-40B4-BE49-F238E27FC236}">
                        <a16:creationId xmlns:a16="http://schemas.microsoft.com/office/drawing/2014/main" id="{E1AE0D11-7C6D-6E62-2D26-59222BB3B48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87226" y="4465149"/>
                  <a:ext cx="4320" cy="252360"/>
                </p14:xfrm>
              </p:contentPart>
            </mc:Choice>
            <mc:Fallback xmlns="">
              <p:pic>
                <p:nvPicPr>
                  <p:cNvPr id="576" name="Input penna 575">
                    <a:extLst>
                      <a:ext uri="{FF2B5EF4-FFF2-40B4-BE49-F238E27FC236}">
                        <a16:creationId xmlns:a16="http://schemas.microsoft.com/office/drawing/2014/main" id="{E1AE0D11-7C6D-6E62-2D26-59222BB3B48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1"/>
                  <a:stretch>
                    <a:fillRect/>
                  </a:stretch>
                </p:blipFill>
                <p:spPr>
                  <a:xfrm>
                    <a:off x="4382042" y="4460135"/>
                    <a:ext cx="14688" cy="26238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2">
                <p14:nvContentPartPr>
                  <p14:cNvPr id="577" name="Input penna 576">
                    <a:extLst>
                      <a:ext uri="{FF2B5EF4-FFF2-40B4-BE49-F238E27FC236}">
                        <a16:creationId xmlns:a16="http://schemas.microsoft.com/office/drawing/2014/main" id="{3B30891F-C22E-E2AC-D5CD-55ACA9DCF9A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88726" y="4459918"/>
                  <a:ext cx="100080" cy="568440"/>
                </p14:xfrm>
              </p:contentPart>
            </mc:Choice>
            <mc:Fallback xmlns="">
              <p:pic>
                <p:nvPicPr>
                  <p:cNvPr id="577" name="Input penna 576">
                    <a:extLst>
                      <a:ext uri="{FF2B5EF4-FFF2-40B4-BE49-F238E27FC236}">
                        <a16:creationId xmlns:a16="http://schemas.microsoft.com/office/drawing/2014/main" id="{3B30891F-C22E-E2AC-D5CD-55ACA9DCF9A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3"/>
                  <a:stretch>
                    <a:fillRect/>
                  </a:stretch>
                </p:blipFill>
                <p:spPr>
                  <a:xfrm>
                    <a:off x="4383743" y="4454906"/>
                    <a:ext cx="110046" cy="57846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4">
                <p14:nvContentPartPr>
                  <p14:cNvPr id="578" name="Input penna 577">
                    <a:extLst>
                      <a:ext uri="{FF2B5EF4-FFF2-40B4-BE49-F238E27FC236}">
                        <a16:creationId xmlns:a16="http://schemas.microsoft.com/office/drawing/2014/main" id="{BF85D520-43E5-72A2-17F3-662BC371EB3A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389166" y="4966798"/>
                  <a:ext cx="5760" cy="2160"/>
                </p14:xfrm>
              </p:contentPart>
            </mc:Choice>
            <mc:Fallback xmlns="">
              <p:pic>
                <p:nvPicPr>
                  <p:cNvPr id="578" name="Input penna 577">
                    <a:extLst>
                      <a:ext uri="{FF2B5EF4-FFF2-40B4-BE49-F238E27FC236}">
                        <a16:creationId xmlns:a16="http://schemas.microsoft.com/office/drawing/2014/main" id="{BF85D520-43E5-72A2-17F3-662BC371EB3A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5"/>
                  <a:stretch>
                    <a:fillRect/>
                  </a:stretch>
                </p:blipFill>
                <p:spPr>
                  <a:xfrm>
                    <a:off x="5384229" y="4961614"/>
                    <a:ext cx="15634" cy="1252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6">
                <p14:nvContentPartPr>
                  <p14:cNvPr id="579" name="Input penna 578">
                    <a:extLst>
                      <a:ext uri="{FF2B5EF4-FFF2-40B4-BE49-F238E27FC236}">
                        <a16:creationId xmlns:a16="http://schemas.microsoft.com/office/drawing/2014/main" id="{F45CD392-9D89-B0EA-6033-E83B0BD57EB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84849" y="4469096"/>
                  <a:ext cx="2340000" cy="433800"/>
                </p14:xfrm>
              </p:contentPart>
            </mc:Choice>
            <mc:Fallback xmlns="">
              <p:pic>
                <p:nvPicPr>
                  <p:cNvPr id="579" name="Input penna 578">
                    <a:extLst>
                      <a:ext uri="{FF2B5EF4-FFF2-40B4-BE49-F238E27FC236}">
                        <a16:creationId xmlns:a16="http://schemas.microsoft.com/office/drawing/2014/main" id="{F45CD392-9D89-B0EA-6033-E83B0BD57EB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7"/>
                  <a:stretch>
                    <a:fillRect/>
                  </a:stretch>
                </p:blipFill>
                <p:spPr>
                  <a:xfrm>
                    <a:off x="4379838" y="4464086"/>
                    <a:ext cx="2350021" cy="4438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8">
                <p14:nvContentPartPr>
                  <p14:cNvPr id="580" name="Input penna 579">
                    <a:extLst>
                      <a:ext uri="{FF2B5EF4-FFF2-40B4-BE49-F238E27FC236}">
                        <a16:creationId xmlns:a16="http://schemas.microsoft.com/office/drawing/2014/main" id="{21F3C012-BE1C-B7D2-C56F-F33B4531B7A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890682" y="5076679"/>
                  <a:ext cx="7920" cy="81360"/>
                </p14:xfrm>
              </p:contentPart>
            </mc:Choice>
            <mc:Fallback xmlns="">
              <p:pic>
                <p:nvPicPr>
                  <p:cNvPr id="580" name="Input penna 579">
                    <a:extLst>
                      <a:ext uri="{FF2B5EF4-FFF2-40B4-BE49-F238E27FC236}">
                        <a16:creationId xmlns:a16="http://schemas.microsoft.com/office/drawing/2014/main" id="{21F3C012-BE1C-B7D2-C56F-F33B4531B7A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9"/>
                  <a:stretch>
                    <a:fillRect/>
                  </a:stretch>
                </p:blipFill>
                <p:spPr>
                  <a:xfrm>
                    <a:off x="4885930" y="5071698"/>
                    <a:ext cx="17424" cy="9132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0">
                <p14:nvContentPartPr>
                  <p14:cNvPr id="581" name="Input penna 580">
                    <a:extLst>
                      <a:ext uri="{FF2B5EF4-FFF2-40B4-BE49-F238E27FC236}">
                        <a16:creationId xmlns:a16="http://schemas.microsoft.com/office/drawing/2014/main" id="{9FD8B671-E363-E78F-8B50-5A9194C3B57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901842" y="5139319"/>
                  <a:ext cx="79920" cy="12600"/>
                </p14:xfrm>
              </p:contentPart>
            </mc:Choice>
            <mc:Fallback xmlns="">
              <p:pic>
                <p:nvPicPr>
                  <p:cNvPr id="581" name="Input penna 580">
                    <a:extLst>
                      <a:ext uri="{FF2B5EF4-FFF2-40B4-BE49-F238E27FC236}">
                        <a16:creationId xmlns:a16="http://schemas.microsoft.com/office/drawing/2014/main" id="{9FD8B671-E363-E78F-8B50-5A9194C3B57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1"/>
                  <a:stretch>
                    <a:fillRect/>
                  </a:stretch>
                </p:blipFill>
                <p:spPr>
                  <a:xfrm>
                    <a:off x="4896847" y="5134279"/>
                    <a:ext cx="89910" cy="226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2">
                <p14:nvContentPartPr>
                  <p14:cNvPr id="582" name="Input penna 581">
                    <a:extLst>
                      <a:ext uri="{FF2B5EF4-FFF2-40B4-BE49-F238E27FC236}">
                        <a16:creationId xmlns:a16="http://schemas.microsoft.com/office/drawing/2014/main" id="{DDBDCABD-4450-BA39-1EA4-42EB9CCC6ED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974922" y="5108719"/>
                  <a:ext cx="7920" cy="31680"/>
                </p14:xfrm>
              </p:contentPart>
            </mc:Choice>
            <mc:Fallback xmlns="">
              <p:pic>
                <p:nvPicPr>
                  <p:cNvPr id="582" name="Input penna 581">
                    <a:extLst>
                      <a:ext uri="{FF2B5EF4-FFF2-40B4-BE49-F238E27FC236}">
                        <a16:creationId xmlns:a16="http://schemas.microsoft.com/office/drawing/2014/main" id="{DDBDCABD-4450-BA39-1EA4-42EB9CCC6ED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3"/>
                  <a:stretch>
                    <a:fillRect/>
                  </a:stretch>
                </p:blipFill>
                <p:spPr>
                  <a:xfrm>
                    <a:off x="4969920" y="5103717"/>
                    <a:ext cx="17924" cy="4168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4">
                <p14:nvContentPartPr>
                  <p14:cNvPr id="583" name="Input penna 582">
                    <a:extLst>
                      <a:ext uri="{FF2B5EF4-FFF2-40B4-BE49-F238E27FC236}">
                        <a16:creationId xmlns:a16="http://schemas.microsoft.com/office/drawing/2014/main" id="{6D109514-872A-DE79-2AE6-CC971F2DFCE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888882" y="5069839"/>
                  <a:ext cx="949320" cy="279720"/>
                </p14:xfrm>
              </p:contentPart>
            </mc:Choice>
            <mc:Fallback xmlns="">
              <p:pic>
                <p:nvPicPr>
                  <p:cNvPr id="583" name="Input penna 582">
                    <a:extLst>
                      <a:ext uri="{FF2B5EF4-FFF2-40B4-BE49-F238E27FC236}">
                        <a16:creationId xmlns:a16="http://schemas.microsoft.com/office/drawing/2014/main" id="{6D109514-872A-DE79-2AE6-CC971F2DFCE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5"/>
                  <a:stretch>
                    <a:fillRect/>
                  </a:stretch>
                </p:blipFill>
                <p:spPr>
                  <a:xfrm>
                    <a:off x="4883872" y="5064829"/>
                    <a:ext cx="959339" cy="28974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6">
                <p14:nvContentPartPr>
                  <p14:cNvPr id="584" name="Input penna 583">
                    <a:extLst>
                      <a:ext uri="{FF2B5EF4-FFF2-40B4-BE49-F238E27FC236}">
                        <a16:creationId xmlns:a16="http://schemas.microsoft.com/office/drawing/2014/main" id="{5B39BA95-C6C4-F750-6752-630657D7FBC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965202" y="5120599"/>
                  <a:ext cx="846360" cy="254880"/>
                </p14:xfrm>
              </p:contentPart>
            </mc:Choice>
            <mc:Fallback xmlns="">
              <p:pic>
                <p:nvPicPr>
                  <p:cNvPr id="584" name="Input penna 583">
                    <a:extLst>
                      <a:ext uri="{FF2B5EF4-FFF2-40B4-BE49-F238E27FC236}">
                        <a16:creationId xmlns:a16="http://schemas.microsoft.com/office/drawing/2014/main" id="{5B39BA95-C6C4-F750-6752-630657D7FBC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7"/>
                  <a:stretch>
                    <a:fillRect/>
                  </a:stretch>
                </p:blipFill>
                <p:spPr>
                  <a:xfrm>
                    <a:off x="4960189" y="5115593"/>
                    <a:ext cx="856386" cy="26489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8">
                <p14:nvContentPartPr>
                  <p14:cNvPr id="585" name="Input penna 584">
                    <a:extLst>
                      <a:ext uri="{FF2B5EF4-FFF2-40B4-BE49-F238E27FC236}">
                        <a16:creationId xmlns:a16="http://schemas.microsoft.com/office/drawing/2014/main" id="{830BA33B-3205-C1EB-6F04-0652767E5849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824882" y="5323999"/>
                  <a:ext cx="20880" cy="124920"/>
                </p14:xfrm>
              </p:contentPart>
            </mc:Choice>
            <mc:Fallback xmlns="">
              <p:pic>
                <p:nvPicPr>
                  <p:cNvPr id="585" name="Input penna 584">
                    <a:extLst>
                      <a:ext uri="{FF2B5EF4-FFF2-40B4-BE49-F238E27FC236}">
                        <a16:creationId xmlns:a16="http://schemas.microsoft.com/office/drawing/2014/main" id="{830BA33B-3205-C1EB-6F04-0652767E5849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9"/>
                  <a:stretch>
                    <a:fillRect/>
                  </a:stretch>
                </p:blipFill>
                <p:spPr>
                  <a:xfrm>
                    <a:off x="5819969" y="5319002"/>
                    <a:ext cx="30706" cy="13491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0">
                <p14:nvContentPartPr>
                  <p14:cNvPr id="586" name="Input penna 585">
                    <a:extLst>
                      <a:ext uri="{FF2B5EF4-FFF2-40B4-BE49-F238E27FC236}">
                        <a16:creationId xmlns:a16="http://schemas.microsoft.com/office/drawing/2014/main" id="{6126E96B-F979-D004-45E9-08A7A1AB9889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833522" y="5439559"/>
                  <a:ext cx="512640" cy="160560"/>
                </p14:xfrm>
              </p:contentPart>
            </mc:Choice>
            <mc:Fallback xmlns="">
              <p:pic>
                <p:nvPicPr>
                  <p:cNvPr id="586" name="Input penna 585">
                    <a:extLst>
                      <a:ext uri="{FF2B5EF4-FFF2-40B4-BE49-F238E27FC236}">
                        <a16:creationId xmlns:a16="http://schemas.microsoft.com/office/drawing/2014/main" id="{6126E96B-F979-D004-45E9-08A7A1AB9889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1"/>
                  <a:stretch>
                    <a:fillRect/>
                  </a:stretch>
                </p:blipFill>
                <p:spPr>
                  <a:xfrm>
                    <a:off x="5828517" y="5434567"/>
                    <a:ext cx="522651" cy="17054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2">
                <p14:nvContentPartPr>
                  <p14:cNvPr id="587" name="Input penna 586">
                    <a:extLst>
                      <a:ext uri="{FF2B5EF4-FFF2-40B4-BE49-F238E27FC236}">
                        <a16:creationId xmlns:a16="http://schemas.microsoft.com/office/drawing/2014/main" id="{F3B8D12F-1E63-EE58-11F4-9600F7782F0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347242" y="5366119"/>
                  <a:ext cx="5400" cy="248760"/>
                </p14:xfrm>
              </p:contentPart>
            </mc:Choice>
            <mc:Fallback xmlns="">
              <p:pic>
                <p:nvPicPr>
                  <p:cNvPr id="587" name="Input penna 586">
                    <a:extLst>
                      <a:ext uri="{FF2B5EF4-FFF2-40B4-BE49-F238E27FC236}">
                        <a16:creationId xmlns:a16="http://schemas.microsoft.com/office/drawing/2014/main" id="{F3B8D12F-1E63-EE58-11F4-9600F7782F0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3"/>
                  <a:stretch>
                    <a:fillRect/>
                  </a:stretch>
                </p:blipFill>
                <p:spPr>
                  <a:xfrm>
                    <a:off x="6342257" y="5361110"/>
                    <a:ext cx="15369" cy="258777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4">
                <p14:nvContentPartPr>
                  <p14:cNvPr id="588" name="Input penna 587">
                    <a:extLst>
                      <a:ext uri="{FF2B5EF4-FFF2-40B4-BE49-F238E27FC236}">
                        <a16:creationId xmlns:a16="http://schemas.microsoft.com/office/drawing/2014/main" id="{12F069EE-760F-E38D-199B-03FD13C35DE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342562" y="5359279"/>
                  <a:ext cx="48240" cy="15480"/>
                </p14:xfrm>
              </p:contentPart>
            </mc:Choice>
            <mc:Fallback xmlns="">
              <p:pic>
                <p:nvPicPr>
                  <p:cNvPr id="588" name="Input penna 587">
                    <a:extLst>
                      <a:ext uri="{FF2B5EF4-FFF2-40B4-BE49-F238E27FC236}">
                        <a16:creationId xmlns:a16="http://schemas.microsoft.com/office/drawing/2014/main" id="{12F069EE-760F-E38D-199B-03FD13C35DE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5"/>
                  <a:stretch>
                    <a:fillRect/>
                  </a:stretch>
                </p:blipFill>
                <p:spPr>
                  <a:xfrm>
                    <a:off x="6337572" y="5354258"/>
                    <a:ext cx="58221" cy="2552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6">
                <p14:nvContentPartPr>
                  <p14:cNvPr id="589" name="Input penna 588">
                    <a:extLst>
                      <a:ext uri="{FF2B5EF4-FFF2-40B4-BE49-F238E27FC236}">
                        <a16:creationId xmlns:a16="http://schemas.microsoft.com/office/drawing/2014/main" id="{65746087-BB31-A4A9-861A-B84A9712D6B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535162" y="5667439"/>
                  <a:ext cx="218520" cy="80280"/>
                </p14:xfrm>
              </p:contentPart>
            </mc:Choice>
            <mc:Fallback xmlns="">
              <p:pic>
                <p:nvPicPr>
                  <p:cNvPr id="589" name="Input penna 588">
                    <a:extLst>
                      <a:ext uri="{FF2B5EF4-FFF2-40B4-BE49-F238E27FC236}">
                        <a16:creationId xmlns:a16="http://schemas.microsoft.com/office/drawing/2014/main" id="{65746087-BB31-A4A9-861A-B84A9712D6B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7"/>
                  <a:stretch>
                    <a:fillRect/>
                  </a:stretch>
                </p:blipFill>
                <p:spPr>
                  <a:xfrm>
                    <a:off x="6530148" y="5662421"/>
                    <a:ext cx="228548" cy="9031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8">
                <p14:nvContentPartPr>
                  <p14:cNvPr id="590" name="Input penna 589">
                    <a:extLst>
                      <a:ext uri="{FF2B5EF4-FFF2-40B4-BE49-F238E27FC236}">
                        <a16:creationId xmlns:a16="http://schemas.microsoft.com/office/drawing/2014/main" id="{E991A420-12F4-601F-0F47-12AD490FC7C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739642" y="5327239"/>
                  <a:ext cx="16920" cy="413280"/>
                </p14:xfrm>
              </p:contentPart>
            </mc:Choice>
            <mc:Fallback xmlns="">
              <p:pic>
                <p:nvPicPr>
                  <p:cNvPr id="590" name="Input penna 589">
                    <a:extLst>
                      <a:ext uri="{FF2B5EF4-FFF2-40B4-BE49-F238E27FC236}">
                        <a16:creationId xmlns:a16="http://schemas.microsoft.com/office/drawing/2014/main" id="{E991A420-12F4-601F-0F47-12AD490FC7C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9"/>
                  <a:stretch>
                    <a:fillRect/>
                  </a:stretch>
                </p:blipFill>
                <p:spPr>
                  <a:xfrm>
                    <a:off x="6734690" y="5322230"/>
                    <a:ext cx="26824" cy="42329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0">
                <p14:nvContentPartPr>
                  <p14:cNvPr id="591" name="Input penna 590">
                    <a:extLst>
                      <a:ext uri="{FF2B5EF4-FFF2-40B4-BE49-F238E27FC236}">
                        <a16:creationId xmlns:a16="http://schemas.microsoft.com/office/drawing/2014/main" id="{2B8CE3CB-AECD-C10F-C75A-E0AA11845B9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742162" y="5668879"/>
                  <a:ext cx="168120" cy="74520"/>
                </p14:xfrm>
              </p:contentPart>
            </mc:Choice>
            <mc:Fallback xmlns="">
              <p:pic>
                <p:nvPicPr>
                  <p:cNvPr id="591" name="Input penna 590">
                    <a:extLst>
                      <a:ext uri="{FF2B5EF4-FFF2-40B4-BE49-F238E27FC236}">
                        <a16:creationId xmlns:a16="http://schemas.microsoft.com/office/drawing/2014/main" id="{2B8CE3CB-AECD-C10F-C75A-E0AA11845B9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1"/>
                  <a:stretch>
                    <a:fillRect/>
                  </a:stretch>
                </p:blipFill>
                <p:spPr>
                  <a:xfrm>
                    <a:off x="6737156" y="5663883"/>
                    <a:ext cx="178132" cy="8451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2">
                <p14:nvContentPartPr>
                  <p14:cNvPr id="592" name="Input penna 591">
                    <a:extLst>
                      <a:ext uri="{FF2B5EF4-FFF2-40B4-BE49-F238E27FC236}">
                        <a16:creationId xmlns:a16="http://schemas.microsoft.com/office/drawing/2014/main" id="{114C8583-711E-34D7-AA2D-AA0FD774E3E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7682" y="5298799"/>
                  <a:ext cx="7560" cy="416160"/>
                </p14:xfrm>
              </p:contentPart>
            </mc:Choice>
            <mc:Fallback xmlns="">
              <p:pic>
                <p:nvPicPr>
                  <p:cNvPr id="592" name="Input penna 591">
                    <a:extLst>
                      <a:ext uri="{FF2B5EF4-FFF2-40B4-BE49-F238E27FC236}">
                        <a16:creationId xmlns:a16="http://schemas.microsoft.com/office/drawing/2014/main" id="{114C8583-711E-34D7-AA2D-AA0FD774E3E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3"/>
                  <a:stretch>
                    <a:fillRect/>
                  </a:stretch>
                </p:blipFill>
                <p:spPr>
                  <a:xfrm>
                    <a:off x="6892642" y="5293790"/>
                    <a:ext cx="17640" cy="42617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4">
                <p14:nvContentPartPr>
                  <p14:cNvPr id="593" name="Input penna 592">
                    <a:extLst>
                      <a:ext uri="{FF2B5EF4-FFF2-40B4-BE49-F238E27FC236}">
                        <a16:creationId xmlns:a16="http://schemas.microsoft.com/office/drawing/2014/main" id="{1AAD0039-5032-6C34-EDD2-4D45B4FC4D6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03154" y="5590971"/>
                  <a:ext cx="82800" cy="21600"/>
                </p14:xfrm>
              </p:contentPart>
            </mc:Choice>
            <mc:Fallback xmlns="">
              <p:pic>
                <p:nvPicPr>
                  <p:cNvPr id="593" name="Input penna 592">
                    <a:extLst>
                      <a:ext uri="{FF2B5EF4-FFF2-40B4-BE49-F238E27FC236}">
                        <a16:creationId xmlns:a16="http://schemas.microsoft.com/office/drawing/2014/main" id="{1AAD0039-5032-6C34-EDD2-4D45B4FC4D6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5"/>
                  <a:stretch>
                    <a:fillRect/>
                  </a:stretch>
                </p:blipFill>
                <p:spPr>
                  <a:xfrm>
                    <a:off x="6898136" y="5585986"/>
                    <a:ext cx="92836" cy="3156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6">
                <p14:nvContentPartPr>
                  <p14:cNvPr id="594" name="Input penna 593">
                    <a:extLst>
                      <a:ext uri="{FF2B5EF4-FFF2-40B4-BE49-F238E27FC236}">
                        <a16:creationId xmlns:a16="http://schemas.microsoft.com/office/drawing/2014/main" id="{A367D26E-CF8B-4D9B-66AB-DBAAEC6AD7C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4154" y="5388291"/>
                  <a:ext cx="124200" cy="42120"/>
                </p14:xfrm>
              </p:contentPart>
            </mc:Choice>
            <mc:Fallback xmlns="">
              <p:pic>
                <p:nvPicPr>
                  <p:cNvPr id="594" name="Input penna 593">
                    <a:extLst>
                      <a:ext uri="{FF2B5EF4-FFF2-40B4-BE49-F238E27FC236}">
                        <a16:creationId xmlns:a16="http://schemas.microsoft.com/office/drawing/2014/main" id="{A367D26E-CF8B-4D9B-66AB-DBAAEC6AD7C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7"/>
                  <a:stretch>
                    <a:fillRect/>
                  </a:stretch>
                </p:blipFill>
                <p:spPr>
                  <a:xfrm>
                    <a:off x="6889153" y="5383287"/>
                    <a:ext cx="134203" cy="5212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8">
                <p14:nvContentPartPr>
                  <p14:cNvPr id="595" name="Input penna 594">
                    <a:extLst>
                      <a:ext uri="{FF2B5EF4-FFF2-40B4-BE49-F238E27FC236}">
                        <a16:creationId xmlns:a16="http://schemas.microsoft.com/office/drawing/2014/main" id="{F151A70B-B8A9-1C63-3FFF-252826D60C3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66874" y="5392251"/>
                  <a:ext cx="52920" cy="12240"/>
                </p14:xfrm>
              </p:contentPart>
            </mc:Choice>
            <mc:Fallback xmlns="">
              <p:pic>
                <p:nvPicPr>
                  <p:cNvPr id="595" name="Input penna 594">
                    <a:extLst>
                      <a:ext uri="{FF2B5EF4-FFF2-40B4-BE49-F238E27FC236}">
                        <a16:creationId xmlns:a16="http://schemas.microsoft.com/office/drawing/2014/main" id="{F151A70B-B8A9-1C63-3FFF-252826D60C3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9"/>
                  <a:stretch>
                    <a:fillRect/>
                  </a:stretch>
                </p:blipFill>
                <p:spPr>
                  <a:xfrm>
                    <a:off x="6961874" y="5387186"/>
                    <a:ext cx="62921" cy="2237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">
                <p14:nvContentPartPr>
                  <p14:cNvPr id="596" name="Input penna 595">
                    <a:extLst>
                      <a:ext uri="{FF2B5EF4-FFF2-40B4-BE49-F238E27FC236}">
                        <a16:creationId xmlns:a16="http://schemas.microsoft.com/office/drawing/2014/main" id="{F6B00B9E-C926-5442-8DD2-73069217815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93154" y="5387571"/>
                  <a:ext cx="95760" cy="29880"/>
                </p14:xfrm>
              </p:contentPart>
            </mc:Choice>
            <mc:Fallback xmlns="">
              <p:pic>
                <p:nvPicPr>
                  <p:cNvPr id="596" name="Input penna 595">
                    <a:extLst>
                      <a:ext uri="{FF2B5EF4-FFF2-40B4-BE49-F238E27FC236}">
                        <a16:creationId xmlns:a16="http://schemas.microsoft.com/office/drawing/2014/main" id="{F6B00B9E-C926-5442-8DD2-73069217815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1"/>
                  <a:stretch>
                    <a:fillRect/>
                  </a:stretch>
                </p:blipFill>
                <p:spPr>
                  <a:xfrm>
                    <a:off x="6988136" y="5382591"/>
                    <a:ext cx="105796" cy="3984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2">
                <p14:nvContentPartPr>
                  <p14:cNvPr id="597" name="Input penna 596">
                    <a:extLst>
                      <a:ext uri="{FF2B5EF4-FFF2-40B4-BE49-F238E27FC236}">
                        <a16:creationId xmlns:a16="http://schemas.microsoft.com/office/drawing/2014/main" id="{14AAFECC-448E-A050-3F54-AF1E259C028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72714" y="5423211"/>
                  <a:ext cx="16560" cy="11880"/>
                </p14:xfrm>
              </p:contentPart>
            </mc:Choice>
            <mc:Fallback xmlns="">
              <p:pic>
                <p:nvPicPr>
                  <p:cNvPr id="597" name="Input penna 596">
                    <a:extLst>
                      <a:ext uri="{FF2B5EF4-FFF2-40B4-BE49-F238E27FC236}">
                        <a16:creationId xmlns:a16="http://schemas.microsoft.com/office/drawing/2014/main" id="{14AAFECC-448E-A050-3F54-AF1E259C028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3"/>
                  <a:stretch>
                    <a:fillRect/>
                  </a:stretch>
                </p:blipFill>
                <p:spPr>
                  <a:xfrm>
                    <a:off x="7067867" y="5418295"/>
                    <a:ext cx="26254" cy="2171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4">
                <p14:nvContentPartPr>
                  <p14:cNvPr id="598" name="Input penna 597">
                    <a:extLst>
                      <a:ext uri="{FF2B5EF4-FFF2-40B4-BE49-F238E27FC236}">
                        <a16:creationId xmlns:a16="http://schemas.microsoft.com/office/drawing/2014/main" id="{EF127192-702E-0EA5-8E3C-F300F6B8B3A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84234" y="5417451"/>
                  <a:ext cx="14760" cy="28080"/>
                </p14:xfrm>
              </p:contentPart>
            </mc:Choice>
            <mc:Fallback xmlns="">
              <p:pic>
                <p:nvPicPr>
                  <p:cNvPr id="598" name="Input penna 597">
                    <a:extLst>
                      <a:ext uri="{FF2B5EF4-FFF2-40B4-BE49-F238E27FC236}">
                        <a16:creationId xmlns:a16="http://schemas.microsoft.com/office/drawing/2014/main" id="{EF127192-702E-0EA5-8E3C-F300F6B8B3A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5"/>
                  <a:stretch>
                    <a:fillRect/>
                  </a:stretch>
                </p:blipFill>
                <p:spPr>
                  <a:xfrm>
                    <a:off x="7079173" y="5412422"/>
                    <a:ext cx="24881" cy="3813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6">
                <p14:nvContentPartPr>
                  <p14:cNvPr id="599" name="Input penna 598">
                    <a:extLst>
                      <a:ext uri="{FF2B5EF4-FFF2-40B4-BE49-F238E27FC236}">
                        <a16:creationId xmlns:a16="http://schemas.microsoft.com/office/drawing/2014/main" id="{37CAF83E-D99D-E4B9-02B4-0B1AAE20689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83074" y="5439051"/>
                  <a:ext cx="46440" cy="204840"/>
                </p14:xfrm>
              </p:contentPart>
            </mc:Choice>
            <mc:Fallback xmlns="">
              <p:pic>
                <p:nvPicPr>
                  <p:cNvPr id="599" name="Input penna 598">
                    <a:extLst>
                      <a:ext uri="{FF2B5EF4-FFF2-40B4-BE49-F238E27FC236}">
                        <a16:creationId xmlns:a16="http://schemas.microsoft.com/office/drawing/2014/main" id="{37CAF83E-D99D-E4B9-02B4-0B1AAE20689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7"/>
                  <a:stretch>
                    <a:fillRect/>
                  </a:stretch>
                </p:blipFill>
                <p:spPr>
                  <a:xfrm>
                    <a:off x="6978053" y="5434045"/>
                    <a:ext cx="56481" cy="21485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8">
                <p14:nvContentPartPr>
                  <p14:cNvPr id="600" name="Input penna 599">
                    <a:extLst>
                      <a:ext uri="{FF2B5EF4-FFF2-40B4-BE49-F238E27FC236}">
                        <a16:creationId xmlns:a16="http://schemas.microsoft.com/office/drawing/2014/main" id="{BA5302D9-87AE-0F5D-9092-30AC78B8BF8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11514" y="5632011"/>
                  <a:ext cx="720" cy="360"/>
                </p14:xfrm>
              </p:contentPart>
            </mc:Choice>
            <mc:Fallback xmlns="">
              <p:pic>
                <p:nvPicPr>
                  <p:cNvPr id="600" name="Input penna 599">
                    <a:extLst>
                      <a:ext uri="{FF2B5EF4-FFF2-40B4-BE49-F238E27FC236}">
                        <a16:creationId xmlns:a16="http://schemas.microsoft.com/office/drawing/2014/main" id="{BA5302D9-87AE-0F5D-9092-30AC78B8BF8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9"/>
                  <a:stretch>
                    <a:fillRect/>
                  </a:stretch>
                </p:blipFill>
                <p:spPr>
                  <a:xfrm>
                    <a:off x="7002874" y="5627691"/>
                    <a:ext cx="18000" cy="9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0">
                <p14:nvContentPartPr>
                  <p14:cNvPr id="601" name="Input penna 600">
                    <a:extLst>
                      <a:ext uri="{FF2B5EF4-FFF2-40B4-BE49-F238E27FC236}">
                        <a16:creationId xmlns:a16="http://schemas.microsoft.com/office/drawing/2014/main" id="{C98E1E9F-111F-262B-D10C-717CAF57998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98194" y="5632011"/>
                  <a:ext cx="29880" cy="12240"/>
                </p14:xfrm>
              </p:contentPart>
            </mc:Choice>
            <mc:Fallback xmlns="">
              <p:pic>
                <p:nvPicPr>
                  <p:cNvPr id="601" name="Input penna 600">
                    <a:extLst>
                      <a:ext uri="{FF2B5EF4-FFF2-40B4-BE49-F238E27FC236}">
                        <a16:creationId xmlns:a16="http://schemas.microsoft.com/office/drawing/2014/main" id="{C98E1E9F-111F-262B-D10C-717CAF57998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1"/>
                  <a:stretch>
                    <a:fillRect/>
                  </a:stretch>
                </p:blipFill>
                <p:spPr>
                  <a:xfrm>
                    <a:off x="6993214" y="5626946"/>
                    <a:ext cx="39840" cy="2237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2">
                <p14:nvContentPartPr>
                  <p14:cNvPr id="602" name="Input penna 601">
                    <a:extLst>
                      <a:ext uri="{FF2B5EF4-FFF2-40B4-BE49-F238E27FC236}">
                        <a16:creationId xmlns:a16="http://schemas.microsoft.com/office/drawing/2014/main" id="{781CBF0A-E441-196D-8CD7-87EE3406A29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10794" y="5640651"/>
                  <a:ext cx="45720" cy="7200"/>
                </p14:xfrm>
              </p:contentPart>
            </mc:Choice>
            <mc:Fallback xmlns="">
              <p:pic>
                <p:nvPicPr>
                  <p:cNvPr id="602" name="Input penna 601">
                    <a:extLst>
                      <a:ext uri="{FF2B5EF4-FFF2-40B4-BE49-F238E27FC236}">
                        <a16:creationId xmlns:a16="http://schemas.microsoft.com/office/drawing/2014/main" id="{781CBF0A-E441-196D-8CD7-87EE3406A29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3"/>
                  <a:stretch>
                    <a:fillRect/>
                  </a:stretch>
                </p:blipFill>
                <p:spPr>
                  <a:xfrm>
                    <a:off x="7005806" y="5635569"/>
                    <a:ext cx="55695" cy="1736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4">
                <p14:nvContentPartPr>
                  <p14:cNvPr id="603" name="Input penna 602">
                    <a:extLst>
                      <a:ext uri="{FF2B5EF4-FFF2-40B4-BE49-F238E27FC236}">
                        <a16:creationId xmlns:a16="http://schemas.microsoft.com/office/drawing/2014/main" id="{0765BBD5-CB2E-943A-AECF-5C4AB09E4D0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55434" y="5452731"/>
                  <a:ext cx="76320" cy="187560"/>
                </p14:xfrm>
              </p:contentPart>
            </mc:Choice>
            <mc:Fallback xmlns="">
              <p:pic>
                <p:nvPicPr>
                  <p:cNvPr id="603" name="Input penna 602">
                    <a:extLst>
                      <a:ext uri="{FF2B5EF4-FFF2-40B4-BE49-F238E27FC236}">
                        <a16:creationId xmlns:a16="http://schemas.microsoft.com/office/drawing/2014/main" id="{0765BBD5-CB2E-943A-AECF-5C4AB09E4D0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5"/>
                  <a:stretch>
                    <a:fillRect/>
                  </a:stretch>
                </p:blipFill>
                <p:spPr>
                  <a:xfrm>
                    <a:off x="7050457" y="5447729"/>
                    <a:ext cx="86275" cy="19756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6">
                <p14:nvContentPartPr>
                  <p14:cNvPr id="604" name="Input penna 603">
                    <a:extLst>
                      <a:ext uri="{FF2B5EF4-FFF2-40B4-BE49-F238E27FC236}">
                        <a16:creationId xmlns:a16="http://schemas.microsoft.com/office/drawing/2014/main" id="{B51FAC5D-EB41-8D60-C25E-7D25BE17192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28434" y="5437971"/>
                  <a:ext cx="74160" cy="9360"/>
                </p14:xfrm>
              </p:contentPart>
            </mc:Choice>
            <mc:Fallback xmlns="">
              <p:pic>
                <p:nvPicPr>
                  <p:cNvPr id="604" name="Input penna 603">
                    <a:extLst>
                      <a:ext uri="{FF2B5EF4-FFF2-40B4-BE49-F238E27FC236}">
                        <a16:creationId xmlns:a16="http://schemas.microsoft.com/office/drawing/2014/main" id="{B51FAC5D-EB41-8D60-C25E-7D25BE17192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7"/>
                  <a:stretch>
                    <a:fillRect/>
                  </a:stretch>
                </p:blipFill>
                <p:spPr>
                  <a:xfrm>
                    <a:off x="7023462" y="5433088"/>
                    <a:ext cx="84103" cy="19127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8">
                <p14:nvContentPartPr>
                  <p14:cNvPr id="605" name="Input penna 604">
                    <a:extLst>
                      <a:ext uri="{FF2B5EF4-FFF2-40B4-BE49-F238E27FC236}">
                        <a16:creationId xmlns:a16="http://schemas.microsoft.com/office/drawing/2014/main" id="{F5A5EBE9-0442-8A66-9946-D1D1ABCBE16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77394" y="5485851"/>
                  <a:ext cx="29520" cy="131400"/>
                </p14:xfrm>
              </p:contentPart>
            </mc:Choice>
            <mc:Fallback xmlns="">
              <p:pic>
                <p:nvPicPr>
                  <p:cNvPr id="605" name="Input penna 604">
                    <a:extLst>
                      <a:ext uri="{FF2B5EF4-FFF2-40B4-BE49-F238E27FC236}">
                        <a16:creationId xmlns:a16="http://schemas.microsoft.com/office/drawing/2014/main" id="{F5A5EBE9-0442-8A66-9946-D1D1ABCBE16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9"/>
                  <a:stretch>
                    <a:fillRect/>
                  </a:stretch>
                </p:blipFill>
                <p:spPr>
                  <a:xfrm>
                    <a:off x="7072405" y="5480845"/>
                    <a:ext cx="39499" cy="14141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0">
                <p14:nvContentPartPr>
                  <p14:cNvPr id="606" name="Input penna 605">
                    <a:extLst>
                      <a:ext uri="{FF2B5EF4-FFF2-40B4-BE49-F238E27FC236}">
                        <a16:creationId xmlns:a16="http://schemas.microsoft.com/office/drawing/2014/main" id="{35DF0E07-C670-8420-502D-F20BFFE8C54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96474" y="5561811"/>
                  <a:ext cx="1800" cy="9000"/>
                </p14:xfrm>
              </p:contentPart>
            </mc:Choice>
            <mc:Fallback xmlns="">
              <p:pic>
                <p:nvPicPr>
                  <p:cNvPr id="606" name="Input penna 605">
                    <a:extLst>
                      <a:ext uri="{FF2B5EF4-FFF2-40B4-BE49-F238E27FC236}">
                        <a16:creationId xmlns:a16="http://schemas.microsoft.com/office/drawing/2014/main" id="{35DF0E07-C670-8420-502D-F20BFFE8C54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1"/>
                  <a:stretch>
                    <a:fillRect/>
                  </a:stretch>
                </p:blipFill>
                <p:spPr>
                  <a:xfrm>
                    <a:off x="7092154" y="5556902"/>
                    <a:ext cx="10440" cy="1881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2">
                <p14:nvContentPartPr>
                  <p14:cNvPr id="607" name="Input penna 606">
                    <a:extLst>
                      <a:ext uri="{FF2B5EF4-FFF2-40B4-BE49-F238E27FC236}">
                        <a16:creationId xmlns:a16="http://schemas.microsoft.com/office/drawing/2014/main" id="{E74BCC04-9B0A-9612-ECA7-4D67778077B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97914" y="5528691"/>
                  <a:ext cx="5400" cy="1440"/>
                </p14:xfrm>
              </p:contentPart>
            </mc:Choice>
            <mc:Fallback xmlns="">
              <p:pic>
                <p:nvPicPr>
                  <p:cNvPr id="607" name="Input penna 606">
                    <a:extLst>
                      <a:ext uri="{FF2B5EF4-FFF2-40B4-BE49-F238E27FC236}">
                        <a16:creationId xmlns:a16="http://schemas.microsoft.com/office/drawing/2014/main" id="{E74BCC04-9B0A-9612-ECA7-4D67778077B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3"/>
                  <a:stretch>
                    <a:fillRect/>
                  </a:stretch>
                </p:blipFill>
                <p:spPr>
                  <a:xfrm>
                    <a:off x="7092929" y="5524371"/>
                    <a:ext cx="15369" cy="100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4">
                <p14:nvContentPartPr>
                  <p14:cNvPr id="608" name="Input penna 607">
                    <a:extLst>
                      <a:ext uri="{FF2B5EF4-FFF2-40B4-BE49-F238E27FC236}">
                        <a16:creationId xmlns:a16="http://schemas.microsoft.com/office/drawing/2014/main" id="{5ABC51D1-8089-BD03-E51C-DD0335EF78B6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09074" y="5510691"/>
                  <a:ext cx="1080" cy="2520"/>
                </p14:xfrm>
              </p:contentPart>
            </mc:Choice>
            <mc:Fallback xmlns="">
              <p:pic>
                <p:nvPicPr>
                  <p:cNvPr id="608" name="Input penna 607">
                    <a:extLst>
                      <a:ext uri="{FF2B5EF4-FFF2-40B4-BE49-F238E27FC236}">
                        <a16:creationId xmlns:a16="http://schemas.microsoft.com/office/drawing/2014/main" id="{5ABC51D1-8089-BD03-E51C-DD0335EF78B6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5"/>
                  <a:stretch>
                    <a:fillRect/>
                  </a:stretch>
                </p:blipFill>
                <p:spPr>
                  <a:xfrm>
                    <a:off x="7104754" y="5505651"/>
                    <a:ext cx="9720" cy="126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6">
                <p14:nvContentPartPr>
                  <p14:cNvPr id="609" name="Input penna 608">
                    <a:extLst>
                      <a:ext uri="{FF2B5EF4-FFF2-40B4-BE49-F238E27FC236}">
                        <a16:creationId xmlns:a16="http://schemas.microsoft.com/office/drawing/2014/main" id="{E4845903-4A52-E62C-6E23-C6D3CA824370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08714" y="5551371"/>
                  <a:ext cx="5400" cy="1080"/>
                </p14:xfrm>
              </p:contentPart>
            </mc:Choice>
            <mc:Fallback xmlns="">
              <p:pic>
                <p:nvPicPr>
                  <p:cNvPr id="609" name="Input penna 608">
                    <a:extLst>
                      <a:ext uri="{FF2B5EF4-FFF2-40B4-BE49-F238E27FC236}">
                        <a16:creationId xmlns:a16="http://schemas.microsoft.com/office/drawing/2014/main" id="{E4845903-4A52-E62C-6E23-C6D3CA824370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7"/>
                  <a:stretch>
                    <a:fillRect/>
                  </a:stretch>
                </p:blipFill>
                <p:spPr>
                  <a:xfrm>
                    <a:off x="7103729" y="5547051"/>
                    <a:ext cx="15369" cy="9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8">
                <p14:nvContentPartPr>
                  <p14:cNvPr id="610" name="Input penna 609">
                    <a:extLst>
                      <a:ext uri="{FF2B5EF4-FFF2-40B4-BE49-F238E27FC236}">
                        <a16:creationId xmlns:a16="http://schemas.microsoft.com/office/drawing/2014/main" id="{642C84AA-9FC5-4C69-AEE8-5649EE60F46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12314" y="5587371"/>
                  <a:ext cx="1080" cy="1800"/>
                </p14:xfrm>
              </p:contentPart>
            </mc:Choice>
            <mc:Fallback xmlns="">
              <p:pic>
                <p:nvPicPr>
                  <p:cNvPr id="610" name="Input penna 609">
                    <a:extLst>
                      <a:ext uri="{FF2B5EF4-FFF2-40B4-BE49-F238E27FC236}">
                        <a16:creationId xmlns:a16="http://schemas.microsoft.com/office/drawing/2014/main" id="{642C84AA-9FC5-4C69-AEE8-5649EE60F46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9"/>
                  <a:stretch>
                    <a:fillRect/>
                  </a:stretch>
                </p:blipFill>
                <p:spPr>
                  <a:xfrm>
                    <a:off x="7107994" y="5581971"/>
                    <a:ext cx="9720" cy="126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0">
                <p14:nvContentPartPr>
                  <p14:cNvPr id="611" name="Input penna 610">
                    <a:extLst>
                      <a:ext uri="{FF2B5EF4-FFF2-40B4-BE49-F238E27FC236}">
                        <a16:creationId xmlns:a16="http://schemas.microsoft.com/office/drawing/2014/main" id="{81ED040D-FC58-5D4C-81BB-5BBC738E6D4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24834" y="5458131"/>
                  <a:ext cx="36000" cy="185760"/>
                </p14:xfrm>
              </p:contentPart>
            </mc:Choice>
            <mc:Fallback xmlns="">
              <p:pic>
                <p:nvPicPr>
                  <p:cNvPr id="611" name="Input penna 610">
                    <a:extLst>
                      <a:ext uri="{FF2B5EF4-FFF2-40B4-BE49-F238E27FC236}">
                        <a16:creationId xmlns:a16="http://schemas.microsoft.com/office/drawing/2014/main" id="{81ED040D-FC58-5D4C-81BB-5BBC738E6D4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1"/>
                  <a:stretch>
                    <a:fillRect/>
                  </a:stretch>
                </p:blipFill>
                <p:spPr>
                  <a:xfrm>
                    <a:off x="7019752" y="5453122"/>
                    <a:ext cx="46165" cy="19577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2">
                <p14:nvContentPartPr>
                  <p14:cNvPr id="612" name="Input penna 611">
                    <a:extLst>
                      <a:ext uri="{FF2B5EF4-FFF2-40B4-BE49-F238E27FC236}">
                        <a16:creationId xmlns:a16="http://schemas.microsoft.com/office/drawing/2014/main" id="{79C95E33-D447-2C53-19F5-60DF3036535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8474" y="5570091"/>
                  <a:ext cx="83160" cy="24120"/>
                </p14:xfrm>
              </p:contentPart>
            </mc:Choice>
            <mc:Fallback xmlns="">
              <p:pic>
                <p:nvPicPr>
                  <p:cNvPr id="612" name="Input penna 611">
                    <a:extLst>
                      <a:ext uri="{FF2B5EF4-FFF2-40B4-BE49-F238E27FC236}">
                        <a16:creationId xmlns:a16="http://schemas.microsoft.com/office/drawing/2014/main" id="{79C95E33-D447-2C53-19F5-60DF3036535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3"/>
                  <a:stretch>
                    <a:fillRect/>
                  </a:stretch>
                </p:blipFill>
                <p:spPr>
                  <a:xfrm>
                    <a:off x="6893459" y="5565101"/>
                    <a:ext cx="93189" cy="3410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4">
                <p14:nvContentPartPr>
                  <p14:cNvPr id="613" name="Input penna 612">
                    <a:extLst>
                      <a:ext uri="{FF2B5EF4-FFF2-40B4-BE49-F238E27FC236}">
                        <a16:creationId xmlns:a16="http://schemas.microsoft.com/office/drawing/2014/main" id="{30558CB7-AFB7-3887-FB14-DA180BB6431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88034" y="5550651"/>
                  <a:ext cx="95760" cy="19080"/>
                </p14:xfrm>
              </p:contentPart>
            </mc:Choice>
            <mc:Fallback xmlns="">
              <p:pic>
                <p:nvPicPr>
                  <p:cNvPr id="613" name="Input penna 612">
                    <a:extLst>
                      <a:ext uri="{FF2B5EF4-FFF2-40B4-BE49-F238E27FC236}">
                        <a16:creationId xmlns:a16="http://schemas.microsoft.com/office/drawing/2014/main" id="{30558CB7-AFB7-3887-FB14-DA180BB6431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5"/>
                  <a:stretch>
                    <a:fillRect/>
                  </a:stretch>
                </p:blipFill>
                <p:spPr>
                  <a:xfrm>
                    <a:off x="6883016" y="5545674"/>
                    <a:ext cx="105796" cy="2903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6">
                <p14:nvContentPartPr>
                  <p14:cNvPr id="614" name="Input penna 613">
                    <a:extLst>
                      <a:ext uri="{FF2B5EF4-FFF2-40B4-BE49-F238E27FC236}">
                        <a16:creationId xmlns:a16="http://schemas.microsoft.com/office/drawing/2014/main" id="{A19CA81C-04B4-91A9-3421-6DB277B5E50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89114" y="5529411"/>
                  <a:ext cx="80280" cy="20160"/>
                </p14:xfrm>
              </p:contentPart>
            </mc:Choice>
            <mc:Fallback xmlns="">
              <p:pic>
                <p:nvPicPr>
                  <p:cNvPr id="614" name="Input penna 613">
                    <a:extLst>
                      <a:ext uri="{FF2B5EF4-FFF2-40B4-BE49-F238E27FC236}">
                        <a16:creationId xmlns:a16="http://schemas.microsoft.com/office/drawing/2014/main" id="{A19CA81C-04B4-91A9-3421-6DB277B5E50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7"/>
                  <a:stretch>
                    <a:fillRect/>
                  </a:stretch>
                </p:blipFill>
                <p:spPr>
                  <a:xfrm>
                    <a:off x="6884096" y="5524371"/>
                    <a:ext cx="90315" cy="3024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8">
                <p14:nvContentPartPr>
                  <p14:cNvPr id="615" name="Input penna 614">
                    <a:extLst>
                      <a:ext uri="{FF2B5EF4-FFF2-40B4-BE49-F238E27FC236}">
                        <a16:creationId xmlns:a16="http://schemas.microsoft.com/office/drawing/2014/main" id="{B0B86594-FC66-2527-6203-958C6A4E3F4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1274" y="5508531"/>
                  <a:ext cx="84600" cy="21600"/>
                </p14:xfrm>
              </p:contentPart>
            </mc:Choice>
            <mc:Fallback xmlns="">
              <p:pic>
                <p:nvPicPr>
                  <p:cNvPr id="615" name="Input penna 614">
                    <a:extLst>
                      <a:ext uri="{FF2B5EF4-FFF2-40B4-BE49-F238E27FC236}">
                        <a16:creationId xmlns:a16="http://schemas.microsoft.com/office/drawing/2014/main" id="{B0B86594-FC66-2527-6203-958C6A4E3F4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9"/>
                  <a:stretch>
                    <a:fillRect/>
                  </a:stretch>
                </p:blipFill>
                <p:spPr>
                  <a:xfrm>
                    <a:off x="6886273" y="5503546"/>
                    <a:ext cx="94602" cy="3156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0">
                <p14:nvContentPartPr>
                  <p14:cNvPr id="616" name="Input penna 615">
                    <a:extLst>
                      <a:ext uri="{FF2B5EF4-FFF2-40B4-BE49-F238E27FC236}">
                        <a16:creationId xmlns:a16="http://schemas.microsoft.com/office/drawing/2014/main" id="{C5244B19-C63E-9462-CC80-0916010B3B4E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86954" y="5488011"/>
                  <a:ext cx="97200" cy="21960"/>
                </p14:xfrm>
              </p:contentPart>
            </mc:Choice>
            <mc:Fallback xmlns="">
              <p:pic>
                <p:nvPicPr>
                  <p:cNvPr id="616" name="Input penna 615">
                    <a:extLst>
                      <a:ext uri="{FF2B5EF4-FFF2-40B4-BE49-F238E27FC236}">
                        <a16:creationId xmlns:a16="http://schemas.microsoft.com/office/drawing/2014/main" id="{C5244B19-C63E-9462-CC80-0916010B3B4E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1"/>
                  <a:stretch>
                    <a:fillRect/>
                  </a:stretch>
                </p:blipFill>
                <p:spPr>
                  <a:xfrm>
                    <a:off x="6881948" y="5483039"/>
                    <a:ext cx="107212" cy="3190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2">
                <p14:nvContentPartPr>
                  <p14:cNvPr id="617" name="Input penna 616">
                    <a:extLst>
                      <a:ext uri="{FF2B5EF4-FFF2-40B4-BE49-F238E27FC236}">
                        <a16:creationId xmlns:a16="http://schemas.microsoft.com/office/drawing/2014/main" id="{E286002F-2A25-9783-93C9-E035586A69D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0554" y="5465331"/>
                  <a:ext cx="95760" cy="24840"/>
                </p14:xfrm>
              </p:contentPart>
            </mc:Choice>
            <mc:Fallback xmlns="">
              <p:pic>
                <p:nvPicPr>
                  <p:cNvPr id="617" name="Input penna 616">
                    <a:extLst>
                      <a:ext uri="{FF2B5EF4-FFF2-40B4-BE49-F238E27FC236}">
                        <a16:creationId xmlns:a16="http://schemas.microsoft.com/office/drawing/2014/main" id="{E286002F-2A25-9783-93C9-E035586A69D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3"/>
                  <a:stretch>
                    <a:fillRect/>
                  </a:stretch>
                </p:blipFill>
                <p:spPr>
                  <a:xfrm>
                    <a:off x="6885558" y="5460363"/>
                    <a:ext cx="105752" cy="34776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4">
                <p14:nvContentPartPr>
                  <p14:cNvPr id="618" name="Input penna 617">
                    <a:extLst>
                      <a:ext uri="{FF2B5EF4-FFF2-40B4-BE49-F238E27FC236}">
                        <a16:creationId xmlns:a16="http://schemas.microsoft.com/office/drawing/2014/main" id="{42871138-2B2E-50F3-EF08-D147CF1B29B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83714" y="5436891"/>
                  <a:ext cx="109080" cy="25920"/>
                </p14:xfrm>
              </p:contentPart>
            </mc:Choice>
            <mc:Fallback xmlns="">
              <p:pic>
                <p:nvPicPr>
                  <p:cNvPr id="618" name="Input penna 617">
                    <a:extLst>
                      <a:ext uri="{FF2B5EF4-FFF2-40B4-BE49-F238E27FC236}">
                        <a16:creationId xmlns:a16="http://schemas.microsoft.com/office/drawing/2014/main" id="{42871138-2B2E-50F3-EF08-D147CF1B29B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5"/>
                  <a:stretch>
                    <a:fillRect/>
                  </a:stretch>
                </p:blipFill>
                <p:spPr>
                  <a:xfrm>
                    <a:off x="6878699" y="5431874"/>
                    <a:ext cx="119110" cy="3595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6">
                <p14:nvContentPartPr>
                  <p14:cNvPr id="619" name="Input penna 618">
                    <a:extLst>
                      <a:ext uri="{FF2B5EF4-FFF2-40B4-BE49-F238E27FC236}">
                        <a16:creationId xmlns:a16="http://schemas.microsoft.com/office/drawing/2014/main" id="{0711B00E-988C-5E3F-D06A-47219329209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3434" y="5417451"/>
                  <a:ext cx="113400" cy="28080"/>
                </p14:xfrm>
              </p:contentPart>
            </mc:Choice>
            <mc:Fallback xmlns="">
              <p:pic>
                <p:nvPicPr>
                  <p:cNvPr id="619" name="Input penna 618">
                    <a:extLst>
                      <a:ext uri="{FF2B5EF4-FFF2-40B4-BE49-F238E27FC236}">
                        <a16:creationId xmlns:a16="http://schemas.microsoft.com/office/drawing/2014/main" id="{0711B00E-988C-5E3F-D06A-47219329209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7"/>
                  <a:stretch>
                    <a:fillRect/>
                  </a:stretch>
                </p:blipFill>
                <p:spPr>
                  <a:xfrm>
                    <a:off x="6888431" y="5412422"/>
                    <a:ext cx="123406" cy="3813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8">
                <p14:nvContentPartPr>
                  <p14:cNvPr id="620" name="Input penna 619">
                    <a:extLst>
                      <a:ext uri="{FF2B5EF4-FFF2-40B4-BE49-F238E27FC236}">
                        <a16:creationId xmlns:a16="http://schemas.microsoft.com/office/drawing/2014/main" id="{19A8F1E9-F217-3D66-FC2D-08F405B2E91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02794" y="5399091"/>
                  <a:ext cx="57240" cy="14040"/>
                </p14:xfrm>
              </p:contentPart>
            </mc:Choice>
            <mc:Fallback xmlns="">
              <p:pic>
                <p:nvPicPr>
                  <p:cNvPr id="620" name="Input penna 619">
                    <a:extLst>
                      <a:ext uri="{FF2B5EF4-FFF2-40B4-BE49-F238E27FC236}">
                        <a16:creationId xmlns:a16="http://schemas.microsoft.com/office/drawing/2014/main" id="{19A8F1E9-F217-3D66-FC2D-08F405B2E91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9"/>
                  <a:stretch>
                    <a:fillRect/>
                  </a:stretch>
                </p:blipFill>
                <p:spPr>
                  <a:xfrm>
                    <a:off x="6897743" y="5394136"/>
                    <a:ext cx="67341" cy="2395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0">
                <p14:nvContentPartPr>
                  <p14:cNvPr id="621" name="Input penna 620">
                    <a:extLst>
                      <a:ext uri="{FF2B5EF4-FFF2-40B4-BE49-F238E27FC236}">
                        <a16:creationId xmlns:a16="http://schemas.microsoft.com/office/drawing/2014/main" id="{60D6F22F-8687-4DCB-839A-44E32C4FE310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673474" y="5297931"/>
                  <a:ext cx="2880" cy="1440"/>
                </p14:xfrm>
              </p:contentPart>
            </mc:Choice>
            <mc:Fallback xmlns="">
              <p:pic>
                <p:nvPicPr>
                  <p:cNvPr id="621" name="Input penna 620">
                    <a:extLst>
                      <a:ext uri="{FF2B5EF4-FFF2-40B4-BE49-F238E27FC236}">
                        <a16:creationId xmlns:a16="http://schemas.microsoft.com/office/drawing/2014/main" id="{60D6F22F-8687-4DCB-839A-44E32C4FE310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1"/>
                  <a:stretch>
                    <a:fillRect/>
                  </a:stretch>
                </p:blipFill>
                <p:spPr>
                  <a:xfrm>
                    <a:off x="6668537" y="5293611"/>
                    <a:ext cx="12754" cy="100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2">
                <p14:nvContentPartPr>
                  <p14:cNvPr id="622" name="Input penna 621">
                    <a:extLst>
                      <a:ext uri="{FF2B5EF4-FFF2-40B4-BE49-F238E27FC236}">
                        <a16:creationId xmlns:a16="http://schemas.microsoft.com/office/drawing/2014/main" id="{AB774065-42F2-B3C3-1F7F-C5A1C376CE5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675994" y="5282091"/>
                  <a:ext cx="219960" cy="37080"/>
                </p14:xfrm>
              </p:contentPart>
            </mc:Choice>
            <mc:Fallback xmlns="">
              <p:pic>
                <p:nvPicPr>
                  <p:cNvPr id="622" name="Input penna 621">
                    <a:extLst>
                      <a:ext uri="{FF2B5EF4-FFF2-40B4-BE49-F238E27FC236}">
                        <a16:creationId xmlns:a16="http://schemas.microsoft.com/office/drawing/2014/main" id="{AB774065-42F2-B3C3-1F7F-C5A1C376CE5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3"/>
                  <a:stretch>
                    <a:fillRect/>
                  </a:stretch>
                </p:blipFill>
                <p:spPr>
                  <a:xfrm>
                    <a:off x="6670985" y="5277035"/>
                    <a:ext cx="229977" cy="4719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4">
                <p14:nvContentPartPr>
                  <p14:cNvPr id="623" name="Input penna 622">
                    <a:extLst>
                      <a:ext uri="{FF2B5EF4-FFF2-40B4-BE49-F238E27FC236}">
                        <a16:creationId xmlns:a16="http://schemas.microsoft.com/office/drawing/2014/main" id="{F3AC0538-BFBD-C458-B1C7-45D563AFF4A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62114" y="5271651"/>
                  <a:ext cx="29880" cy="8640"/>
                </p14:xfrm>
              </p:contentPart>
            </mc:Choice>
            <mc:Fallback xmlns="">
              <p:pic>
                <p:nvPicPr>
                  <p:cNvPr id="623" name="Input penna 622">
                    <a:extLst>
                      <a:ext uri="{FF2B5EF4-FFF2-40B4-BE49-F238E27FC236}">
                        <a16:creationId xmlns:a16="http://schemas.microsoft.com/office/drawing/2014/main" id="{F3AC0538-BFBD-C458-B1C7-45D563AFF4A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5"/>
                  <a:stretch>
                    <a:fillRect/>
                  </a:stretch>
                </p:blipFill>
                <p:spPr>
                  <a:xfrm>
                    <a:off x="6857134" y="5266714"/>
                    <a:ext cx="39840" cy="1851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6">
                <p14:nvContentPartPr>
                  <p14:cNvPr id="624" name="Input penna 623">
                    <a:extLst>
                      <a:ext uri="{FF2B5EF4-FFF2-40B4-BE49-F238E27FC236}">
                        <a16:creationId xmlns:a16="http://schemas.microsoft.com/office/drawing/2014/main" id="{0423CB17-2E88-E804-0768-3A3E1C25A56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23674" y="5228451"/>
                  <a:ext cx="3240" cy="147240"/>
                </p14:xfrm>
              </p:contentPart>
            </mc:Choice>
            <mc:Fallback xmlns="">
              <p:pic>
                <p:nvPicPr>
                  <p:cNvPr id="624" name="Input penna 623">
                    <a:extLst>
                      <a:ext uri="{FF2B5EF4-FFF2-40B4-BE49-F238E27FC236}">
                        <a16:creationId xmlns:a16="http://schemas.microsoft.com/office/drawing/2014/main" id="{0423CB17-2E88-E804-0768-3A3E1C25A56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7"/>
                  <a:stretch>
                    <a:fillRect/>
                  </a:stretch>
                </p:blipFill>
                <p:spPr>
                  <a:xfrm>
                    <a:off x="6918814" y="5223446"/>
                    <a:ext cx="12960" cy="15725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8">
                <p14:nvContentPartPr>
                  <p14:cNvPr id="625" name="Input penna 624">
                    <a:extLst>
                      <a:ext uri="{FF2B5EF4-FFF2-40B4-BE49-F238E27FC236}">
                        <a16:creationId xmlns:a16="http://schemas.microsoft.com/office/drawing/2014/main" id="{BAB60A80-5992-11CB-B583-94CE2531FA70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83434" y="5191731"/>
                  <a:ext cx="4320" cy="215640"/>
                </p14:xfrm>
              </p:contentPart>
            </mc:Choice>
            <mc:Fallback xmlns="">
              <p:pic>
                <p:nvPicPr>
                  <p:cNvPr id="625" name="Input penna 624">
                    <a:extLst>
                      <a:ext uri="{FF2B5EF4-FFF2-40B4-BE49-F238E27FC236}">
                        <a16:creationId xmlns:a16="http://schemas.microsoft.com/office/drawing/2014/main" id="{BAB60A80-5992-11CB-B583-94CE2531FA70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9"/>
                  <a:stretch>
                    <a:fillRect/>
                  </a:stretch>
                </p:blipFill>
                <p:spPr>
                  <a:xfrm>
                    <a:off x="6978250" y="5186726"/>
                    <a:ext cx="14688" cy="22565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0">
                <p14:nvContentPartPr>
                  <p14:cNvPr id="626" name="Input penna 625">
                    <a:extLst>
                      <a:ext uri="{FF2B5EF4-FFF2-40B4-BE49-F238E27FC236}">
                        <a16:creationId xmlns:a16="http://schemas.microsoft.com/office/drawing/2014/main" id="{CBCC0358-E3A8-51A4-01CA-871CF9E738B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40314" y="5164731"/>
                  <a:ext cx="2880" cy="231480"/>
                </p14:xfrm>
              </p:contentPart>
            </mc:Choice>
            <mc:Fallback xmlns="">
              <p:pic>
                <p:nvPicPr>
                  <p:cNvPr id="626" name="Input penna 625">
                    <a:extLst>
                      <a:ext uri="{FF2B5EF4-FFF2-40B4-BE49-F238E27FC236}">
                        <a16:creationId xmlns:a16="http://schemas.microsoft.com/office/drawing/2014/main" id="{CBCC0358-E3A8-51A4-01CA-871CF9E738B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1"/>
                  <a:stretch>
                    <a:fillRect/>
                  </a:stretch>
                </p:blipFill>
                <p:spPr>
                  <a:xfrm>
                    <a:off x="7035377" y="5159717"/>
                    <a:ext cx="12754" cy="24150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2">
                <p14:nvContentPartPr>
                  <p14:cNvPr id="627" name="Input penna 626">
                    <a:extLst>
                      <a:ext uri="{FF2B5EF4-FFF2-40B4-BE49-F238E27FC236}">
                        <a16:creationId xmlns:a16="http://schemas.microsoft.com/office/drawing/2014/main" id="{C917628C-5772-9670-2AFC-C0912E9EBCB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42114" y="5166171"/>
                  <a:ext cx="360" cy="360"/>
                </p14:xfrm>
              </p:contentPart>
            </mc:Choice>
            <mc:Fallback xmlns="">
              <p:pic>
                <p:nvPicPr>
                  <p:cNvPr id="627" name="Input penna 626">
                    <a:extLst>
                      <a:ext uri="{FF2B5EF4-FFF2-40B4-BE49-F238E27FC236}">
                        <a16:creationId xmlns:a16="http://schemas.microsoft.com/office/drawing/2014/main" id="{C917628C-5772-9670-2AFC-C0912E9EBCB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9"/>
                  <a:stretch>
                    <a:fillRect/>
                  </a:stretch>
                </p:blipFill>
                <p:spPr>
                  <a:xfrm>
                    <a:off x="7037794" y="5161851"/>
                    <a:ext cx="9000" cy="9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3">
                <p14:nvContentPartPr>
                  <p14:cNvPr id="628" name="Input penna 627">
                    <a:extLst>
                      <a:ext uri="{FF2B5EF4-FFF2-40B4-BE49-F238E27FC236}">
                        <a16:creationId xmlns:a16="http://schemas.microsoft.com/office/drawing/2014/main" id="{4194203B-9222-5B96-00CA-80592C1AFAAE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52914" y="5175531"/>
                  <a:ext cx="11520" cy="244440"/>
                </p14:xfrm>
              </p:contentPart>
            </mc:Choice>
            <mc:Fallback xmlns="">
              <p:pic>
                <p:nvPicPr>
                  <p:cNvPr id="628" name="Input penna 627">
                    <a:extLst>
                      <a:ext uri="{FF2B5EF4-FFF2-40B4-BE49-F238E27FC236}">
                        <a16:creationId xmlns:a16="http://schemas.microsoft.com/office/drawing/2014/main" id="{4194203B-9222-5B96-00CA-80592C1AFAAE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4"/>
                  <a:stretch>
                    <a:fillRect/>
                  </a:stretch>
                </p:blipFill>
                <p:spPr>
                  <a:xfrm>
                    <a:off x="7047977" y="5170517"/>
                    <a:ext cx="21394" cy="25446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5">
                <p14:nvContentPartPr>
                  <p14:cNvPr id="629" name="Input penna 628">
                    <a:extLst>
                      <a:ext uri="{FF2B5EF4-FFF2-40B4-BE49-F238E27FC236}">
                        <a16:creationId xmlns:a16="http://schemas.microsoft.com/office/drawing/2014/main" id="{9EE9D03C-41F2-22C8-E1C7-17618A0E01E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39594" y="5165811"/>
                  <a:ext cx="25920" cy="10080"/>
                </p14:xfrm>
              </p:contentPart>
            </mc:Choice>
            <mc:Fallback xmlns="">
              <p:pic>
                <p:nvPicPr>
                  <p:cNvPr id="629" name="Input penna 628">
                    <a:extLst>
                      <a:ext uri="{FF2B5EF4-FFF2-40B4-BE49-F238E27FC236}">
                        <a16:creationId xmlns:a16="http://schemas.microsoft.com/office/drawing/2014/main" id="{9EE9D03C-41F2-22C8-E1C7-17618A0E01E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6"/>
                  <a:stretch>
                    <a:fillRect/>
                  </a:stretch>
                </p:blipFill>
                <p:spPr>
                  <a:xfrm>
                    <a:off x="7034495" y="5160771"/>
                    <a:ext cx="36118" cy="201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7">
                <p14:nvContentPartPr>
                  <p14:cNvPr id="630" name="Input penna 629">
                    <a:extLst>
                      <a:ext uri="{FF2B5EF4-FFF2-40B4-BE49-F238E27FC236}">
                        <a16:creationId xmlns:a16="http://schemas.microsoft.com/office/drawing/2014/main" id="{96248FBE-0962-8F37-EDAB-63B77529A30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05474" y="5191011"/>
                  <a:ext cx="17640" cy="24120"/>
                </p14:xfrm>
              </p:contentPart>
            </mc:Choice>
            <mc:Fallback xmlns="">
              <p:pic>
                <p:nvPicPr>
                  <p:cNvPr id="630" name="Input penna 629">
                    <a:extLst>
                      <a:ext uri="{FF2B5EF4-FFF2-40B4-BE49-F238E27FC236}">
                        <a16:creationId xmlns:a16="http://schemas.microsoft.com/office/drawing/2014/main" id="{96248FBE-0962-8F37-EDAB-63B77529A30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8"/>
                  <a:stretch>
                    <a:fillRect/>
                  </a:stretch>
                </p:blipFill>
                <p:spPr>
                  <a:xfrm>
                    <a:off x="7100434" y="5186105"/>
                    <a:ext cx="27720" cy="3393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9">
                <p14:nvContentPartPr>
                  <p14:cNvPr id="631" name="Input penna 630">
                    <a:extLst>
                      <a:ext uri="{FF2B5EF4-FFF2-40B4-BE49-F238E27FC236}">
                        <a16:creationId xmlns:a16="http://schemas.microsoft.com/office/drawing/2014/main" id="{13E5BD65-CD3C-ED6A-88ED-0510FB82A4D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21314" y="5370651"/>
                  <a:ext cx="12600" cy="24120"/>
                </p14:xfrm>
              </p:contentPart>
            </mc:Choice>
            <mc:Fallback xmlns="">
              <p:pic>
                <p:nvPicPr>
                  <p:cNvPr id="631" name="Input penna 630">
                    <a:extLst>
                      <a:ext uri="{FF2B5EF4-FFF2-40B4-BE49-F238E27FC236}">
                        <a16:creationId xmlns:a16="http://schemas.microsoft.com/office/drawing/2014/main" id="{13E5BD65-CD3C-ED6A-88ED-0510FB82A4D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0"/>
                  <a:stretch>
                    <a:fillRect/>
                  </a:stretch>
                </p:blipFill>
                <p:spPr>
                  <a:xfrm>
                    <a:off x="7116437" y="5365661"/>
                    <a:ext cx="22355" cy="3410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1">
                <p14:nvContentPartPr>
                  <p14:cNvPr id="632" name="Input penna 631">
                    <a:extLst>
                      <a:ext uri="{FF2B5EF4-FFF2-40B4-BE49-F238E27FC236}">
                        <a16:creationId xmlns:a16="http://schemas.microsoft.com/office/drawing/2014/main" id="{01AAD749-7566-774B-FF0A-E1AF9E749D26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19474" y="4926411"/>
                  <a:ext cx="17280" cy="27720"/>
                </p14:xfrm>
              </p:contentPart>
            </mc:Choice>
            <mc:Fallback xmlns="">
              <p:pic>
                <p:nvPicPr>
                  <p:cNvPr id="632" name="Input penna 631">
                    <a:extLst>
                      <a:ext uri="{FF2B5EF4-FFF2-40B4-BE49-F238E27FC236}">
                        <a16:creationId xmlns:a16="http://schemas.microsoft.com/office/drawing/2014/main" id="{01AAD749-7566-774B-FF0A-E1AF9E749D26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2"/>
                  <a:stretch>
                    <a:fillRect/>
                  </a:stretch>
                </p:blipFill>
                <p:spPr>
                  <a:xfrm>
                    <a:off x="7514537" y="4921446"/>
                    <a:ext cx="27154" cy="3765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3">
                <p14:nvContentPartPr>
                  <p14:cNvPr id="633" name="Input penna 632">
                    <a:extLst>
                      <a:ext uri="{FF2B5EF4-FFF2-40B4-BE49-F238E27FC236}">
                        <a16:creationId xmlns:a16="http://schemas.microsoft.com/office/drawing/2014/main" id="{E6D81A6F-D3E6-DE69-EDD1-D7776D29205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30634" y="5071851"/>
                  <a:ext cx="18000" cy="30600"/>
                </p14:xfrm>
              </p:contentPart>
            </mc:Choice>
            <mc:Fallback xmlns="">
              <p:pic>
                <p:nvPicPr>
                  <p:cNvPr id="633" name="Input penna 632">
                    <a:extLst>
                      <a:ext uri="{FF2B5EF4-FFF2-40B4-BE49-F238E27FC236}">
                        <a16:creationId xmlns:a16="http://schemas.microsoft.com/office/drawing/2014/main" id="{E6D81A6F-D3E6-DE69-EDD1-D7776D29205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4"/>
                  <a:stretch>
                    <a:fillRect/>
                  </a:stretch>
                </p:blipFill>
                <p:spPr>
                  <a:xfrm>
                    <a:off x="7525725" y="5066821"/>
                    <a:ext cx="27818" cy="406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5">
                <p14:nvContentPartPr>
                  <p14:cNvPr id="634" name="Input penna 633">
                    <a:extLst>
                      <a:ext uri="{FF2B5EF4-FFF2-40B4-BE49-F238E27FC236}">
                        <a16:creationId xmlns:a16="http://schemas.microsoft.com/office/drawing/2014/main" id="{95DCF1BB-F2CC-D787-53E5-738701E177E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62274" y="4852971"/>
                  <a:ext cx="536040" cy="317520"/>
                </p14:xfrm>
              </p:contentPart>
            </mc:Choice>
            <mc:Fallback xmlns="">
              <p:pic>
                <p:nvPicPr>
                  <p:cNvPr id="634" name="Input penna 633">
                    <a:extLst>
                      <a:ext uri="{FF2B5EF4-FFF2-40B4-BE49-F238E27FC236}">
                        <a16:creationId xmlns:a16="http://schemas.microsoft.com/office/drawing/2014/main" id="{95DCF1BB-F2CC-D787-53E5-738701E177E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6"/>
                  <a:stretch>
                    <a:fillRect/>
                  </a:stretch>
                </p:blipFill>
                <p:spPr>
                  <a:xfrm>
                    <a:off x="7057264" y="4847964"/>
                    <a:ext cx="546059" cy="32753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7">
                <p14:nvContentPartPr>
                  <p14:cNvPr id="635" name="Input penna 634">
                    <a:extLst>
                      <a:ext uri="{FF2B5EF4-FFF2-40B4-BE49-F238E27FC236}">
                        <a16:creationId xmlns:a16="http://schemas.microsoft.com/office/drawing/2014/main" id="{9FFE0682-A58B-3E76-0765-FC6030C61360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31314" y="4842891"/>
                  <a:ext cx="569160" cy="320040"/>
                </p14:xfrm>
              </p:contentPart>
            </mc:Choice>
            <mc:Fallback xmlns="">
              <p:pic>
                <p:nvPicPr>
                  <p:cNvPr id="635" name="Input penna 634">
                    <a:extLst>
                      <a:ext uri="{FF2B5EF4-FFF2-40B4-BE49-F238E27FC236}">
                        <a16:creationId xmlns:a16="http://schemas.microsoft.com/office/drawing/2014/main" id="{9FFE0682-A58B-3E76-0765-FC6030C61360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8"/>
                  <a:stretch>
                    <a:fillRect/>
                  </a:stretch>
                </p:blipFill>
                <p:spPr>
                  <a:xfrm>
                    <a:off x="7026303" y="4837884"/>
                    <a:ext cx="579182" cy="33005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9">
                <p14:nvContentPartPr>
                  <p14:cNvPr id="636" name="Input penna 635">
                    <a:extLst>
                      <a:ext uri="{FF2B5EF4-FFF2-40B4-BE49-F238E27FC236}">
                        <a16:creationId xmlns:a16="http://schemas.microsoft.com/office/drawing/2014/main" id="{4FF4F903-1B3E-0878-233B-8A4513B69816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90034" y="4835331"/>
                  <a:ext cx="18720" cy="324720"/>
                </p14:xfrm>
              </p:contentPart>
            </mc:Choice>
            <mc:Fallback xmlns="">
              <p:pic>
                <p:nvPicPr>
                  <p:cNvPr id="636" name="Input penna 635">
                    <a:extLst>
                      <a:ext uri="{FF2B5EF4-FFF2-40B4-BE49-F238E27FC236}">
                        <a16:creationId xmlns:a16="http://schemas.microsoft.com/office/drawing/2014/main" id="{4FF4F903-1B3E-0878-233B-8A4513B69816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0"/>
                  <a:stretch>
                    <a:fillRect/>
                  </a:stretch>
                </p:blipFill>
                <p:spPr>
                  <a:xfrm>
                    <a:off x="7585151" y="4830322"/>
                    <a:ext cx="28487" cy="334737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1">
                <p14:nvContentPartPr>
                  <p14:cNvPr id="637" name="Input penna 636">
                    <a:extLst>
                      <a:ext uri="{FF2B5EF4-FFF2-40B4-BE49-F238E27FC236}">
                        <a16:creationId xmlns:a16="http://schemas.microsoft.com/office/drawing/2014/main" id="{3FB1A233-E120-17DE-A8BE-45B720EFB24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32474" y="5164371"/>
                  <a:ext cx="488880" cy="347400"/>
                </p14:xfrm>
              </p:contentPart>
            </mc:Choice>
            <mc:Fallback xmlns="">
              <p:pic>
                <p:nvPicPr>
                  <p:cNvPr id="637" name="Input penna 636">
                    <a:extLst>
                      <a:ext uri="{FF2B5EF4-FFF2-40B4-BE49-F238E27FC236}">
                        <a16:creationId xmlns:a16="http://schemas.microsoft.com/office/drawing/2014/main" id="{3FB1A233-E120-17DE-A8BE-45B720EFB24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2"/>
                  <a:stretch>
                    <a:fillRect/>
                  </a:stretch>
                </p:blipFill>
                <p:spPr>
                  <a:xfrm>
                    <a:off x="7127468" y="5159360"/>
                    <a:ext cx="498891" cy="35742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3">
                <p14:nvContentPartPr>
                  <p14:cNvPr id="638" name="Input penna 637">
                    <a:extLst>
                      <a:ext uri="{FF2B5EF4-FFF2-40B4-BE49-F238E27FC236}">
                        <a16:creationId xmlns:a16="http://schemas.microsoft.com/office/drawing/2014/main" id="{C3721853-A7EE-D11B-56FC-2B2A8C3B351A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719186" y="4555886"/>
                  <a:ext cx="859320" cy="340560"/>
                </p14:xfrm>
              </p:contentPart>
            </mc:Choice>
            <mc:Fallback xmlns="">
              <p:pic>
                <p:nvPicPr>
                  <p:cNvPr id="638" name="Input penna 637">
                    <a:extLst>
                      <a:ext uri="{FF2B5EF4-FFF2-40B4-BE49-F238E27FC236}">
                        <a16:creationId xmlns:a16="http://schemas.microsoft.com/office/drawing/2014/main" id="{C3721853-A7EE-D11B-56FC-2B2A8C3B351A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4"/>
                  <a:stretch>
                    <a:fillRect/>
                  </a:stretch>
                </p:blipFill>
                <p:spPr>
                  <a:xfrm>
                    <a:off x="6714178" y="4550878"/>
                    <a:ext cx="869336" cy="350576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5">
                <p14:nvContentPartPr>
                  <p14:cNvPr id="639" name="Input penna 638">
                    <a:extLst>
                      <a:ext uri="{FF2B5EF4-FFF2-40B4-BE49-F238E27FC236}">
                        <a16:creationId xmlns:a16="http://schemas.microsoft.com/office/drawing/2014/main" id="{EBACA47B-317D-30AF-6AFF-B92AC95DB669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78506" y="4546886"/>
                  <a:ext cx="5040" cy="289800"/>
                </p14:xfrm>
              </p:contentPart>
            </mc:Choice>
            <mc:Fallback xmlns="">
              <p:pic>
                <p:nvPicPr>
                  <p:cNvPr id="639" name="Input penna 638">
                    <a:extLst>
                      <a:ext uri="{FF2B5EF4-FFF2-40B4-BE49-F238E27FC236}">
                        <a16:creationId xmlns:a16="http://schemas.microsoft.com/office/drawing/2014/main" id="{EBACA47B-317D-30AF-6AFF-B92AC95DB669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6"/>
                  <a:stretch>
                    <a:fillRect/>
                  </a:stretch>
                </p:blipFill>
                <p:spPr>
                  <a:xfrm>
                    <a:off x="7573854" y="4541875"/>
                    <a:ext cx="14345" cy="29982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7">
                <p14:nvContentPartPr>
                  <p14:cNvPr id="640" name="Input penna 639">
                    <a:extLst>
                      <a:ext uri="{FF2B5EF4-FFF2-40B4-BE49-F238E27FC236}">
                        <a16:creationId xmlns:a16="http://schemas.microsoft.com/office/drawing/2014/main" id="{7DD4E9D0-5798-4CA1-4DE5-A75F75DF9D76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66681" y="2838321"/>
                  <a:ext cx="40680" cy="1682640"/>
                </p14:xfrm>
              </p:contentPart>
            </mc:Choice>
            <mc:Fallback xmlns="">
              <p:pic>
                <p:nvPicPr>
                  <p:cNvPr id="640" name="Input penna 639">
                    <a:extLst>
                      <a:ext uri="{FF2B5EF4-FFF2-40B4-BE49-F238E27FC236}">
                        <a16:creationId xmlns:a16="http://schemas.microsoft.com/office/drawing/2014/main" id="{7DD4E9D0-5798-4CA1-4DE5-A75F75DF9D76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8"/>
                  <a:stretch>
                    <a:fillRect/>
                  </a:stretch>
                </p:blipFill>
                <p:spPr>
                  <a:xfrm>
                    <a:off x="7561700" y="2833311"/>
                    <a:ext cx="50642" cy="1692661"/>
                  </a:xfrm>
                  <a:prstGeom prst="rect">
                    <a:avLst/>
                  </a:prstGeom>
                </p:spPr>
              </p:pic>
            </mc:Fallback>
          </mc:AlternateContent>
          <p:grpSp>
            <p:nvGrpSpPr>
              <p:cNvPr id="641" name="Gruppo 640">
                <a:extLst>
                  <a:ext uri="{FF2B5EF4-FFF2-40B4-BE49-F238E27FC236}">
                    <a16:creationId xmlns:a16="http://schemas.microsoft.com/office/drawing/2014/main" id="{C17C8D7F-49E0-F654-D661-5F70884735D7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481281" y="2629881"/>
                <a:ext cx="1186920" cy="1822101"/>
                <a:chOff x="6481281" y="2629881"/>
                <a:chExt cx="1186920" cy="1822101"/>
              </a:xfrm>
              <a:solidFill>
                <a:schemeClr val="accent3"/>
              </a:solidFill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159">
                  <p14:nvContentPartPr>
                    <p14:cNvPr id="891" name="Input penna 890">
                      <a:extLst>
                        <a:ext uri="{FF2B5EF4-FFF2-40B4-BE49-F238E27FC236}">
                          <a16:creationId xmlns:a16="http://schemas.microsoft.com/office/drawing/2014/main" id="{554BC263-5BCA-34C0-4807-5C886DDCB8B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55911" y="3247422"/>
                    <a:ext cx="23040" cy="1182240"/>
                  </p14:xfrm>
                </p:contentPart>
              </mc:Choice>
              <mc:Fallback xmlns="">
                <p:pic>
                  <p:nvPicPr>
                    <p:cNvPr id="891" name="Input penna 890">
                      <a:extLst>
                        <a:ext uri="{FF2B5EF4-FFF2-40B4-BE49-F238E27FC236}">
                          <a16:creationId xmlns:a16="http://schemas.microsoft.com/office/drawing/2014/main" id="{554BC263-5BCA-34C0-4807-5C886DDCB8B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0"/>
                    <a:stretch>
                      <a:fillRect/>
                    </a:stretch>
                  </p:blipFill>
                  <p:spPr>
                    <a:xfrm>
                      <a:off x="7050884" y="3242411"/>
                      <a:ext cx="33094" cy="11922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1">
                  <p14:nvContentPartPr>
                    <p14:cNvPr id="892" name="Input penna 891">
                      <a:extLst>
                        <a:ext uri="{FF2B5EF4-FFF2-40B4-BE49-F238E27FC236}">
                          <a16:creationId xmlns:a16="http://schemas.microsoft.com/office/drawing/2014/main" id="{00B40E9D-B3F6-BB65-FD64-264B097EED9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416631" y="3296742"/>
                    <a:ext cx="30240" cy="1020240"/>
                  </p14:xfrm>
                </p:contentPart>
              </mc:Choice>
              <mc:Fallback xmlns="">
                <p:pic>
                  <p:nvPicPr>
                    <p:cNvPr id="892" name="Input penna 891">
                      <a:extLst>
                        <a:ext uri="{FF2B5EF4-FFF2-40B4-BE49-F238E27FC236}">
                          <a16:creationId xmlns:a16="http://schemas.microsoft.com/office/drawing/2014/main" id="{00B40E9D-B3F6-BB65-FD64-264B097EED9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2"/>
                    <a:stretch>
                      <a:fillRect/>
                    </a:stretch>
                  </p:blipFill>
                  <p:spPr>
                    <a:xfrm>
                      <a:off x="7411660" y="3291731"/>
                      <a:ext cx="40182" cy="10302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3">
                  <p14:nvContentPartPr>
                    <p14:cNvPr id="893" name="Input penna 892">
                      <a:extLst>
                        <a:ext uri="{FF2B5EF4-FFF2-40B4-BE49-F238E27FC236}">
                          <a16:creationId xmlns:a16="http://schemas.microsoft.com/office/drawing/2014/main" id="{257C2EB8-AE18-DFEE-06A8-538CC485F44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68511" y="4309062"/>
                    <a:ext cx="398160" cy="142920"/>
                  </p14:xfrm>
                </p:contentPart>
              </mc:Choice>
              <mc:Fallback xmlns="">
                <p:pic>
                  <p:nvPicPr>
                    <p:cNvPr id="893" name="Input penna 892">
                      <a:extLst>
                        <a:ext uri="{FF2B5EF4-FFF2-40B4-BE49-F238E27FC236}">
                          <a16:creationId xmlns:a16="http://schemas.microsoft.com/office/drawing/2014/main" id="{257C2EB8-AE18-DFEE-06A8-538CC485F44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4"/>
                    <a:stretch>
                      <a:fillRect/>
                    </a:stretch>
                  </p:blipFill>
                  <p:spPr>
                    <a:xfrm>
                      <a:off x="7063503" y="4304062"/>
                      <a:ext cx="408177" cy="1529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5">
                  <p14:nvContentPartPr>
                    <p14:cNvPr id="894" name="Input penna 893">
                      <a:extLst>
                        <a:ext uri="{FF2B5EF4-FFF2-40B4-BE49-F238E27FC236}">
                          <a16:creationId xmlns:a16="http://schemas.microsoft.com/office/drawing/2014/main" id="{7F035B5F-E891-2273-EADF-59E1D72BF5C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53751" y="3247422"/>
                    <a:ext cx="390960" cy="33840"/>
                  </p14:xfrm>
                </p:contentPart>
              </mc:Choice>
              <mc:Fallback xmlns="">
                <p:pic>
                  <p:nvPicPr>
                    <p:cNvPr id="894" name="Input penna 893">
                      <a:extLst>
                        <a:ext uri="{FF2B5EF4-FFF2-40B4-BE49-F238E27FC236}">
                          <a16:creationId xmlns:a16="http://schemas.microsoft.com/office/drawing/2014/main" id="{7F035B5F-E891-2273-EADF-59E1D72BF5C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6"/>
                    <a:stretch>
                      <a:fillRect/>
                    </a:stretch>
                  </p:blipFill>
                  <p:spPr>
                    <a:xfrm>
                      <a:off x="7048739" y="3242409"/>
                      <a:ext cx="400985" cy="4386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7">
                  <p14:nvContentPartPr>
                    <p14:cNvPr id="895" name="Input penna 894">
                      <a:extLst>
                        <a:ext uri="{FF2B5EF4-FFF2-40B4-BE49-F238E27FC236}">
                          <a16:creationId xmlns:a16="http://schemas.microsoft.com/office/drawing/2014/main" id="{71A2B942-E322-0EE7-3FC7-26F5338D449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99471" y="3780942"/>
                    <a:ext cx="32760" cy="196920"/>
                  </p14:xfrm>
                </p:contentPart>
              </mc:Choice>
              <mc:Fallback xmlns="">
                <p:pic>
                  <p:nvPicPr>
                    <p:cNvPr id="895" name="Input penna 894">
                      <a:extLst>
                        <a:ext uri="{FF2B5EF4-FFF2-40B4-BE49-F238E27FC236}">
                          <a16:creationId xmlns:a16="http://schemas.microsoft.com/office/drawing/2014/main" id="{71A2B942-E322-0EE7-3FC7-26F5338D449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8"/>
                    <a:stretch>
                      <a:fillRect/>
                    </a:stretch>
                  </p:blipFill>
                  <p:spPr>
                    <a:xfrm>
                      <a:off x="7094495" y="3775925"/>
                      <a:ext cx="42712" cy="20695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9">
                  <p14:nvContentPartPr>
                    <p14:cNvPr id="896" name="Input penna 895">
                      <a:extLst>
                        <a:ext uri="{FF2B5EF4-FFF2-40B4-BE49-F238E27FC236}">
                          <a16:creationId xmlns:a16="http://schemas.microsoft.com/office/drawing/2014/main" id="{E577B611-872B-4B40-CE68-F02F892E77B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114231" y="3767982"/>
                    <a:ext cx="10080" cy="200520"/>
                  </p14:xfrm>
                </p:contentPart>
              </mc:Choice>
              <mc:Fallback xmlns="">
                <p:pic>
                  <p:nvPicPr>
                    <p:cNvPr id="896" name="Input penna 895">
                      <a:extLst>
                        <a:ext uri="{FF2B5EF4-FFF2-40B4-BE49-F238E27FC236}">
                          <a16:creationId xmlns:a16="http://schemas.microsoft.com/office/drawing/2014/main" id="{E577B611-872B-4B40-CE68-F02F892E77B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0"/>
                    <a:stretch>
                      <a:fillRect/>
                    </a:stretch>
                  </p:blipFill>
                  <p:spPr>
                    <a:xfrm>
                      <a:off x="7109191" y="3762969"/>
                      <a:ext cx="20160" cy="21054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1">
                  <p14:nvContentPartPr>
                    <p14:cNvPr id="897" name="Input penna 896">
                      <a:extLst>
                        <a:ext uri="{FF2B5EF4-FFF2-40B4-BE49-F238E27FC236}">
                          <a16:creationId xmlns:a16="http://schemas.microsoft.com/office/drawing/2014/main" id="{5BE943D0-7538-E0D1-B5FB-564F6F25A20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92991" y="3784542"/>
                    <a:ext cx="30600" cy="1440"/>
                  </p14:xfrm>
                </p:contentPart>
              </mc:Choice>
              <mc:Fallback xmlns="">
                <p:pic>
                  <p:nvPicPr>
                    <p:cNvPr id="897" name="Input penna 896">
                      <a:extLst>
                        <a:ext uri="{FF2B5EF4-FFF2-40B4-BE49-F238E27FC236}">
                          <a16:creationId xmlns:a16="http://schemas.microsoft.com/office/drawing/2014/main" id="{5BE943D0-7538-E0D1-B5FB-564F6F25A20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2"/>
                    <a:stretch>
                      <a:fillRect/>
                    </a:stretch>
                  </p:blipFill>
                  <p:spPr>
                    <a:xfrm>
                      <a:off x="7087961" y="3780222"/>
                      <a:ext cx="40660" cy="100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3">
                  <p14:nvContentPartPr>
                    <p14:cNvPr id="898" name="Input penna 897">
                      <a:extLst>
                        <a:ext uri="{FF2B5EF4-FFF2-40B4-BE49-F238E27FC236}">
                          <a16:creationId xmlns:a16="http://schemas.microsoft.com/office/drawing/2014/main" id="{2F33E24E-4749-DD40-84A0-AF42B2EE80F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150591" y="3434262"/>
                    <a:ext cx="225000" cy="715320"/>
                  </p14:xfrm>
                </p:contentPart>
              </mc:Choice>
              <mc:Fallback xmlns="">
                <p:pic>
                  <p:nvPicPr>
                    <p:cNvPr id="898" name="Input penna 897">
                      <a:extLst>
                        <a:ext uri="{FF2B5EF4-FFF2-40B4-BE49-F238E27FC236}">
                          <a16:creationId xmlns:a16="http://schemas.microsoft.com/office/drawing/2014/main" id="{2F33E24E-4749-DD40-84A0-AF42B2EE80F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4"/>
                    <a:stretch>
                      <a:fillRect/>
                    </a:stretch>
                  </p:blipFill>
                  <p:spPr>
                    <a:xfrm>
                      <a:off x="7145582" y="3429251"/>
                      <a:ext cx="235019" cy="7253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5">
                  <p14:nvContentPartPr>
                    <p14:cNvPr id="899" name="Input penna 898">
                      <a:extLst>
                        <a:ext uri="{FF2B5EF4-FFF2-40B4-BE49-F238E27FC236}">
                          <a16:creationId xmlns:a16="http://schemas.microsoft.com/office/drawing/2014/main" id="{BDE120FD-F005-F971-C172-C8B2834B853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149511" y="3479982"/>
                    <a:ext cx="196560" cy="711000"/>
                  </p14:xfrm>
                </p:contentPart>
              </mc:Choice>
              <mc:Fallback xmlns="">
                <p:pic>
                  <p:nvPicPr>
                    <p:cNvPr id="899" name="Input penna 898">
                      <a:extLst>
                        <a:ext uri="{FF2B5EF4-FFF2-40B4-BE49-F238E27FC236}">
                          <a16:creationId xmlns:a16="http://schemas.microsoft.com/office/drawing/2014/main" id="{BDE120FD-F005-F971-C172-C8B2834B853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6"/>
                    <a:stretch>
                      <a:fillRect/>
                    </a:stretch>
                  </p:blipFill>
                  <p:spPr>
                    <a:xfrm>
                      <a:off x="7144503" y="3474972"/>
                      <a:ext cx="206576" cy="7210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7">
                  <p14:nvContentPartPr>
                    <p14:cNvPr id="900" name="Input penna 899">
                      <a:extLst>
                        <a:ext uri="{FF2B5EF4-FFF2-40B4-BE49-F238E27FC236}">
                          <a16:creationId xmlns:a16="http://schemas.microsoft.com/office/drawing/2014/main" id="{2EEF3F24-6FA8-2DA8-F832-9C766127321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81281" y="2629881"/>
                    <a:ext cx="1086480" cy="210960"/>
                  </p14:xfrm>
                </p:contentPart>
              </mc:Choice>
              <mc:Fallback xmlns="">
                <p:pic>
                  <p:nvPicPr>
                    <p:cNvPr id="900" name="Input penna 899">
                      <a:extLst>
                        <a:ext uri="{FF2B5EF4-FFF2-40B4-BE49-F238E27FC236}">
                          <a16:creationId xmlns:a16="http://schemas.microsoft.com/office/drawing/2014/main" id="{2EEF3F24-6FA8-2DA8-F832-9C766127321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8"/>
                    <a:stretch>
                      <a:fillRect/>
                    </a:stretch>
                  </p:blipFill>
                  <p:spPr>
                    <a:xfrm>
                      <a:off x="6476270" y="2624868"/>
                      <a:ext cx="1096501" cy="22098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9">
                  <p14:nvContentPartPr>
                    <p14:cNvPr id="901" name="Input penna 900">
                      <a:extLst>
                        <a:ext uri="{FF2B5EF4-FFF2-40B4-BE49-F238E27FC236}">
                          <a16:creationId xmlns:a16="http://schemas.microsoft.com/office/drawing/2014/main" id="{8D24F8DE-283F-0F10-7045-FF32416F26D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77801" y="2667321"/>
                    <a:ext cx="330120" cy="122760"/>
                  </p14:xfrm>
                </p:contentPart>
              </mc:Choice>
              <mc:Fallback xmlns="">
                <p:pic>
                  <p:nvPicPr>
                    <p:cNvPr id="901" name="Input penna 900">
                      <a:extLst>
                        <a:ext uri="{FF2B5EF4-FFF2-40B4-BE49-F238E27FC236}">
                          <a16:creationId xmlns:a16="http://schemas.microsoft.com/office/drawing/2014/main" id="{8D24F8DE-283F-0F10-7045-FF32416F26D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0"/>
                    <a:stretch>
                      <a:fillRect/>
                    </a:stretch>
                  </p:blipFill>
                  <p:spPr>
                    <a:xfrm>
                      <a:off x="7072793" y="2662327"/>
                      <a:ext cx="340136" cy="1327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1">
                  <p14:nvContentPartPr>
                    <p14:cNvPr id="902" name="Input penna 901">
                      <a:extLst>
                        <a:ext uri="{FF2B5EF4-FFF2-40B4-BE49-F238E27FC236}">
                          <a16:creationId xmlns:a16="http://schemas.microsoft.com/office/drawing/2014/main" id="{4644C86B-DFBA-2EF1-BDD2-DEC226A7A40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386681" y="2663361"/>
                    <a:ext cx="165600" cy="163440"/>
                  </p14:xfrm>
                </p:contentPart>
              </mc:Choice>
              <mc:Fallback xmlns="">
                <p:pic>
                  <p:nvPicPr>
                    <p:cNvPr id="902" name="Input penna 901">
                      <a:extLst>
                        <a:ext uri="{FF2B5EF4-FFF2-40B4-BE49-F238E27FC236}">
                          <a16:creationId xmlns:a16="http://schemas.microsoft.com/office/drawing/2014/main" id="{4644C86B-DFBA-2EF1-BDD2-DEC226A7A40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2"/>
                    <a:stretch>
                      <a:fillRect/>
                    </a:stretch>
                  </p:blipFill>
                  <p:spPr>
                    <a:xfrm>
                      <a:off x="7381675" y="2658358"/>
                      <a:ext cx="175611" cy="1734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3">
                  <p14:nvContentPartPr>
                    <p14:cNvPr id="903" name="Input penna 902">
                      <a:extLst>
                        <a:ext uri="{FF2B5EF4-FFF2-40B4-BE49-F238E27FC236}">
                          <a16:creationId xmlns:a16="http://schemas.microsoft.com/office/drawing/2014/main" id="{4A4804A1-842F-7836-B528-771F21FCFF9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58761" y="2839761"/>
                    <a:ext cx="49680" cy="97200"/>
                  </p14:xfrm>
                </p:contentPart>
              </mc:Choice>
              <mc:Fallback xmlns="">
                <p:pic>
                  <p:nvPicPr>
                    <p:cNvPr id="903" name="Input penna 902">
                      <a:extLst>
                        <a:ext uri="{FF2B5EF4-FFF2-40B4-BE49-F238E27FC236}">
                          <a16:creationId xmlns:a16="http://schemas.microsoft.com/office/drawing/2014/main" id="{4A4804A1-842F-7836-B528-771F21FCFF9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4"/>
                    <a:stretch>
                      <a:fillRect/>
                    </a:stretch>
                  </p:blipFill>
                  <p:spPr>
                    <a:xfrm>
                      <a:off x="7553751" y="2834755"/>
                      <a:ext cx="59699" cy="1072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5">
                  <p14:nvContentPartPr>
                    <p14:cNvPr id="904" name="Input penna 903">
                      <a:extLst>
                        <a:ext uri="{FF2B5EF4-FFF2-40B4-BE49-F238E27FC236}">
                          <a16:creationId xmlns:a16="http://schemas.microsoft.com/office/drawing/2014/main" id="{9DEB277D-2B5F-FC22-5C88-C5695B897D2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97641" y="2900961"/>
                    <a:ext cx="46800" cy="80280"/>
                  </p14:xfrm>
                </p:contentPart>
              </mc:Choice>
              <mc:Fallback xmlns="">
                <p:pic>
                  <p:nvPicPr>
                    <p:cNvPr id="904" name="Input penna 903">
                      <a:extLst>
                        <a:ext uri="{FF2B5EF4-FFF2-40B4-BE49-F238E27FC236}">
                          <a16:creationId xmlns:a16="http://schemas.microsoft.com/office/drawing/2014/main" id="{9DEB277D-2B5F-FC22-5C88-C5695B897D2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6"/>
                    <a:stretch>
                      <a:fillRect/>
                    </a:stretch>
                  </p:blipFill>
                  <p:spPr>
                    <a:xfrm>
                      <a:off x="7592627" y="2895969"/>
                      <a:ext cx="56829" cy="902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7">
                  <p14:nvContentPartPr>
                    <p14:cNvPr id="905" name="Input penna 904">
                      <a:extLst>
                        <a:ext uri="{FF2B5EF4-FFF2-40B4-BE49-F238E27FC236}">
                          <a16:creationId xmlns:a16="http://schemas.microsoft.com/office/drawing/2014/main" id="{352EB3C7-EBD9-DDCB-7E06-BED6F0594DD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92961" y="2962521"/>
                    <a:ext cx="75240" cy="889560"/>
                  </p14:xfrm>
                </p:contentPart>
              </mc:Choice>
              <mc:Fallback xmlns="">
                <p:pic>
                  <p:nvPicPr>
                    <p:cNvPr id="905" name="Input penna 904">
                      <a:extLst>
                        <a:ext uri="{FF2B5EF4-FFF2-40B4-BE49-F238E27FC236}">
                          <a16:creationId xmlns:a16="http://schemas.microsoft.com/office/drawing/2014/main" id="{352EB3C7-EBD9-DDCB-7E06-BED6F0594DD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8"/>
                    <a:stretch>
                      <a:fillRect/>
                    </a:stretch>
                  </p:blipFill>
                  <p:spPr>
                    <a:xfrm>
                      <a:off x="7587945" y="2957509"/>
                      <a:ext cx="85272" cy="89958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9">
                  <p14:nvContentPartPr>
                    <p14:cNvPr id="906" name="Input penna 905">
                      <a:extLst>
                        <a:ext uri="{FF2B5EF4-FFF2-40B4-BE49-F238E27FC236}">
                          <a16:creationId xmlns:a16="http://schemas.microsoft.com/office/drawing/2014/main" id="{7AF7F406-0082-3F9A-9D0F-24B23A522EA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84681" y="3620961"/>
                    <a:ext cx="56520" cy="143640"/>
                  </p14:xfrm>
                </p:contentPart>
              </mc:Choice>
              <mc:Fallback xmlns="">
                <p:pic>
                  <p:nvPicPr>
                    <p:cNvPr id="906" name="Input penna 905">
                      <a:extLst>
                        <a:ext uri="{FF2B5EF4-FFF2-40B4-BE49-F238E27FC236}">
                          <a16:creationId xmlns:a16="http://schemas.microsoft.com/office/drawing/2014/main" id="{7AF7F406-0082-3F9A-9D0F-24B23A522EA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0"/>
                    <a:stretch>
                      <a:fillRect/>
                    </a:stretch>
                  </p:blipFill>
                  <p:spPr>
                    <a:xfrm>
                      <a:off x="7579657" y="3615950"/>
                      <a:ext cx="66568" cy="15366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1">
                  <p14:nvContentPartPr>
                    <p14:cNvPr id="907" name="Input penna 906">
                      <a:extLst>
                        <a:ext uri="{FF2B5EF4-FFF2-40B4-BE49-F238E27FC236}">
                          <a16:creationId xmlns:a16="http://schemas.microsoft.com/office/drawing/2014/main" id="{EDAB5819-2A0D-221D-BCBA-DE5D7D485F4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05201" y="3426561"/>
                    <a:ext cx="7200" cy="133200"/>
                  </p14:xfrm>
                </p:contentPart>
              </mc:Choice>
              <mc:Fallback xmlns="">
                <p:pic>
                  <p:nvPicPr>
                    <p:cNvPr id="907" name="Input penna 906">
                      <a:extLst>
                        <a:ext uri="{FF2B5EF4-FFF2-40B4-BE49-F238E27FC236}">
                          <a16:creationId xmlns:a16="http://schemas.microsoft.com/office/drawing/2014/main" id="{EDAB5819-2A0D-221D-BCBA-DE5D7D485F4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2"/>
                    <a:stretch>
                      <a:fillRect/>
                    </a:stretch>
                  </p:blipFill>
                  <p:spPr>
                    <a:xfrm>
                      <a:off x="7600119" y="3421550"/>
                      <a:ext cx="17365" cy="1432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3">
                  <p14:nvContentPartPr>
                    <p14:cNvPr id="908" name="Input penna 907">
                      <a:extLst>
                        <a:ext uri="{FF2B5EF4-FFF2-40B4-BE49-F238E27FC236}">
                          <a16:creationId xmlns:a16="http://schemas.microsoft.com/office/drawing/2014/main" id="{B1B88007-E4D2-DBFC-1933-E58F2585C37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25361" y="3438441"/>
                    <a:ext cx="5040" cy="128880"/>
                  </p14:xfrm>
                </p:contentPart>
              </mc:Choice>
              <mc:Fallback xmlns="">
                <p:pic>
                  <p:nvPicPr>
                    <p:cNvPr id="908" name="Input penna 907">
                      <a:extLst>
                        <a:ext uri="{FF2B5EF4-FFF2-40B4-BE49-F238E27FC236}">
                          <a16:creationId xmlns:a16="http://schemas.microsoft.com/office/drawing/2014/main" id="{B1B88007-E4D2-DBFC-1933-E58F2585C37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4"/>
                    <a:stretch>
                      <a:fillRect/>
                    </a:stretch>
                  </p:blipFill>
                  <p:spPr>
                    <a:xfrm>
                      <a:off x="7620321" y="3433436"/>
                      <a:ext cx="15120" cy="13889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5">
                  <p14:nvContentPartPr>
                    <p14:cNvPr id="909" name="Input penna 908">
                      <a:extLst>
                        <a:ext uri="{FF2B5EF4-FFF2-40B4-BE49-F238E27FC236}">
                          <a16:creationId xmlns:a16="http://schemas.microsoft.com/office/drawing/2014/main" id="{FC296954-E4AC-6B74-032A-5E08FF0EDDF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36881" y="3436641"/>
                    <a:ext cx="4320" cy="151920"/>
                  </p14:xfrm>
                </p:contentPart>
              </mc:Choice>
              <mc:Fallback xmlns="">
                <p:pic>
                  <p:nvPicPr>
                    <p:cNvPr id="909" name="Input penna 908">
                      <a:extLst>
                        <a:ext uri="{FF2B5EF4-FFF2-40B4-BE49-F238E27FC236}">
                          <a16:creationId xmlns:a16="http://schemas.microsoft.com/office/drawing/2014/main" id="{FC296954-E4AC-6B74-032A-5E08FF0EDDF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6"/>
                    <a:stretch>
                      <a:fillRect/>
                    </a:stretch>
                  </p:blipFill>
                  <p:spPr>
                    <a:xfrm>
                      <a:off x="7632168" y="3431633"/>
                      <a:ext cx="13745" cy="16193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7">
                  <p14:nvContentPartPr>
                    <p14:cNvPr id="910" name="Input penna 909">
                      <a:extLst>
                        <a:ext uri="{FF2B5EF4-FFF2-40B4-BE49-F238E27FC236}">
                          <a16:creationId xmlns:a16="http://schemas.microsoft.com/office/drawing/2014/main" id="{16D1F1F5-473C-472C-CE77-DE7BEDA5E15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87921" y="3411081"/>
                    <a:ext cx="46440" cy="13320"/>
                  </p14:xfrm>
                </p:contentPart>
              </mc:Choice>
              <mc:Fallback xmlns="">
                <p:pic>
                  <p:nvPicPr>
                    <p:cNvPr id="910" name="Input penna 909">
                      <a:extLst>
                        <a:ext uri="{FF2B5EF4-FFF2-40B4-BE49-F238E27FC236}">
                          <a16:creationId xmlns:a16="http://schemas.microsoft.com/office/drawing/2014/main" id="{16D1F1F5-473C-472C-CE77-DE7BEDA5E15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8"/>
                    <a:stretch>
                      <a:fillRect/>
                    </a:stretch>
                  </p:blipFill>
                  <p:spPr>
                    <a:xfrm>
                      <a:off x="7582945" y="3406086"/>
                      <a:ext cx="56391" cy="2331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9">
                  <p14:nvContentPartPr>
                    <p14:cNvPr id="911" name="Input penna 910">
                      <a:extLst>
                        <a:ext uri="{FF2B5EF4-FFF2-40B4-BE49-F238E27FC236}">
                          <a16:creationId xmlns:a16="http://schemas.microsoft.com/office/drawing/2014/main" id="{4D39F915-4DE9-8636-4943-FD2E049EB37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90801" y="3550041"/>
                    <a:ext cx="47160" cy="10440"/>
                  </p14:xfrm>
                </p:contentPart>
              </mc:Choice>
              <mc:Fallback xmlns="">
                <p:pic>
                  <p:nvPicPr>
                    <p:cNvPr id="911" name="Input penna 910">
                      <a:extLst>
                        <a:ext uri="{FF2B5EF4-FFF2-40B4-BE49-F238E27FC236}">
                          <a16:creationId xmlns:a16="http://schemas.microsoft.com/office/drawing/2014/main" id="{4D39F915-4DE9-8636-4943-FD2E049EB37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00"/>
                    <a:stretch>
                      <a:fillRect/>
                    </a:stretch>
                  </p:blipFill>
                  <p:spPr>
                    <a:xfrm>
                      <a:off x="7585793" y="3545030"/>
                      <a:ext cx="57176" cy="204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01">
                  <p14:nvContentPartPr>
                    <p14:cNvPr id="912" name="Input penna 911">
                      <a:extLst>
                        <a:ext uri="{FF2B5EF4-FFF2-40B4-BE49-F238E27FC236}">
                          <a16:creationId xmlns:a16="http://schemas.microsoft.com/office/drawing/2014/main" id="{3E27205F-6DB0-B998-95FA-7AC6103A45A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04841" y="3555081"/>
                    <a:ext cx="28440" cy="38520"/>
                  </p14:xfrm>
                </p:contentPart>
              </mc:Choice>
              <mc:Fallback xmlns="">
                <p:pic>
                  <p:nvPicPr>
                    <p:cNvPr id="912" name="Input penna 911">
                      <a:extLst>
                        <a:ext uri="{FF2B5EF4-FFF2-40B4-BE49-F238E27FC236}">
                          <a16:creationId xmlns:a16="http://schemas.microsoft.com/office/drawing/2014/main" id="{3E27205F-6DB0-B998-95FA-7AC6103A45A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02"/>
                    <a:stretch>
                      <a:fillRect/>
                    </a:stretch>
                  </p:blipFill>
                  <p:spPr>
                    <a:xfrm>
                      <a:off x="7599822" y="3550057"/>
                      <a:ext cx="38478" cy="485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03">
                  <p14:nvContentPartPr>
                    <p14:cNvPr id="913" name="Input penna 912">
                      <a:extLst>
                        <a:ext uri="{FF2B5EF4-FFF2-40B4-BE49-F238E27FC236}">
                          <a16:creationId xmlns:a16="http://schemas.microsoft.com/office/drawing/2014/main" id="{FD79453B-BFBC-0C38-0D26-87262D57054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26441" y="3421521"/>
                    <a:ext cx="10080" cy="83160"/>
                  </p14:xfrm>
                </p:contentPart>
              </mc:Choice>
              <mc:Fallback xmlns="">
                <p:pic>
                  <p:nvPicPr>
                    <p:cNvPr id="913" name="Input penna 912">
                      <a:extLst>
                        <a:ext uri="{FF2B5EF4-FFF2-40B4-BE49-F238E27FC236}">
                          <a16:creationId xmlns:a16="http://schemas.microsoft.com/office/drawing/2014/main" id="{FD79453B-BFBC-0C38-0D26-87262D57054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04"/>
                    <a:stretch>
                      <a:fillRect/>
                    </a:stretch>
                  </p:blipFill>
                  <p:spPr>
                    <a:xfrm>
                      <a:off x="7621603" y="3416506"/>
                      <a:ext cx="19757" cy="93189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mc:AlternateContent xmlns:mc="http://schemas.openxmlformats.org/markup-compatibility/2006" xmlns:p14="http://schemas.microsoft.com/office/powerpoint/2010/main">
            <mc:Choice Requires="p14">
              <p:contentPart p14:bwMode="auto" r:id="rId205">
                <p14:nvContentPartPr>
                  <p14:cNvPr id="642" name="Input penna 641">
                    <a:extLst>
                      <a:ext uri="{FF2B5EF4-FFF2-40B4-BE49-F238E27FC236}">
                        <a16:creationId xmlns:a16="http://schemas.microsoft.com/office/drawing/2014/main" id="{B0CE67F1-C118-4F46-2E98-9C523D027FA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430339" y="2844509"/>
                  <a:ext cx="259560" cy="18360"/>
                </p14:xfrm>
              </p:contentPart>
            </mc:Choice>
            <mc:Fallback xmlns="">
              <p:pic>
                <p:nvPicPr>
                  <p:cNvPr id="642" name="Input penna 641">
                    <a:extLst>
                      <a:ext uri="{FF2B5EF4-FFF2-40B4-BE49-F238E27FC236}">
                        <a16:creationId xmlns:a16="http://schemas.microsoft.com/office/drawing/2014/main" id="{B0CE67F1-C118-4F46-2E98-9C523D027FA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06"/>
                  <a:stretch>
                    <a:fillRect/>
                  </a:stretch>
                </p:blipFill>
                <p:spPr>
                  <a:xfrm>
                    <a:off x="5425331" y="2839502"/>
                    <a:ext cx="269575" cy="2837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07">
                <p14:nvContentPartPr>
                  <p14:cNvPr id="643" name="Input penna 642">
                    <a:extLst>
                      <a:ext uri="{FF2B5EF4-FFF2-40B4-BE49-F238E27FC236}">
                        <a16:creationId xmlns:a16="http://schemas.microsoft.com/office/drawing/2014/main" id="{8A0175A4-846C-F71B-BDBD-47AEA77EE90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740084" y="3130056"/>
                  <a:ext cx="634320" cy="47880"/>
                </p14:xfrm>
              </p:contentPart>
            </mc:Choice>
            <mc:Fallback xmlns="">
              <p:pic>
                <p:nvPicPr>
                  <p:cNvPr id="643" name="Input penna 642">
                    <a:extLst>
                      <a:ext uri="{FF2B5EF4-FFF2-40B4-BE49-F238E27FC236}">
                        <a16:creationId xmlns:a16="http://schemas.microsoft.com/office/drawing/2014/main" id="{8A0175A4-846C-F71B-BDBD-47AEA77EE90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08"/>
                  <a:stretch>
                    <a:fillRect/>
                  </a:stretch>
                </p:blipFill>
                <p:spPr>
                  <a:xfrm>
                    <a:off x="5735070" y="3125060"/>
                    <a:ext cx="644349" cy="5787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09">
                <p14:nvContentPartPr>
                  <p14:cNvPr id="644" name="Input penna 643">
                    <a:extLst>
                      <a:ext uri="{FF2B5EF4-FFF2-40B4-BE49-F238E27FC236}">
                        <a16:creationId xmlns:a16="http://schemas.microsoft.com/office/drawing/2014/main" id="{EDDD3586-C745-47E2-EEA2-35D62F96C32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750164" y="3179736"/>
                  <a:ext cx="24480" cy="945720"/>
                </p14:xfrm>
              </p:contentPart>
            </mc:Choice>
            <mc:Fallback xmlns="">
              <p:pic>
                <p:nvPicPr>
                  <p:cNvPr id="644" name="Input penna 643">
                    <a:extLst>
                      <a:ext uri="{FF2B5EF4-FFF2-40B4-BE49-F238E27FC236}">
                        <a16:creationId xmlns:a16="http://schemas.microsoft.com/office/drawing/2014/main" id="{EDDD3586-C745-47E2-EEA2-35D62F96C32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10"/>
                  <a:stretch>
                    <a:fillRect/>
                  </a:stretch>
                </p:blipFill>
                <p:spPr>
                  <a:xfrm>
                    <a:off x="5745185" y="3174726"/>
                    <a:ext cx="34438" cy="955741"/>
                  </a:xfrm>
                  <a:prstGeom prst="rect">
                    <a:avLst/>
                  </a:prstGeom>
                </p:spPr>
              </p:pic>
            </mc:Fallback>
          </mc:AlternateContent>
          <p:grpSp>
            <p:nvGrpSpPr>
              <p:cNvPr id="645" name="Gruppo 644">
                <a:extLst>
                  <a:ext uri="{FF2B5EF4-FFF2-40B4-BE49-F238E27FC236}">
                    <a16:creationId xmlns:a16="http://schemas.microsoft.com/office/drawing/2014/main" id="{1CA7C7DB-3ECE-4C0F-E0BC-5BB0CCA1E199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980357" y="2091570"/>
                <a:ext cx="2780514" cy="2869909"/>
                <a:chOff x="3980357" y="2091570"/>
                <a:chExt cx="2780514" cy="2869909"/>
              </a:xfrm>
              <a:solidFill>
                <a:schemeClr val="accent3"/>
              </a:solidFill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211">
                  <p14:nvContentPartPr>
                    <p14:cNvPr id="674" name="Input penna 673">
                      <a:extLst>
                        <a:ext uri="{FF2B5EF4-FFF2-40B4-BE49-F238E27FC236}">
                          <a16:creationId xmlns:a16="http://schemas.microsoft.com/office/drawing/2014/main" id="{B63FE9F3-952E-3BDD-9479-E469186FA95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17517" y="4859528"/>
                    <a:ext cx="59400" cy="51840"/>
                  </p14:xfrm>
                </p:contentPart>
              </mc:Choice>
              <mc:Fallback xmlns="">
                <p:pic>
                  <p:nvPicPr>
                    <p:cNvPr id="674" name="Input penna 673">
                      <a:extLst>
                        <a:ext uri="{FF2B5EF4-FFF2-40B4-BE49-F238E27FC236}">
                          <a16:creationId xmlns:a16="http://schemas.microsoft.com/office/drawing/2014/main" id="{B63FE9F3-952E-3BDD-9479-E469186FA95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12"/>
                    <a:stretch>
                      <a:fillRect/>
                    </a:stretch>
                  </p:blipFill>
                  <p:spPr>
                    <a:xfrm>
                      <a:off x="4112497" y="4854511"/>
                      <a:ext cx="69439" cy="618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3">
                  <p14:nvContentPartPr>
                    <p14:cNvPr id="675" name="Input penna 674">
                      <a:extLst>
                        <a:ext uri="{FF2B5EF4-FFF2-40B4-BE49-F238E27FC236}">
                          <a16:creationId xmlns:a16="http://schemas.microsoft.com/office/drawing/2014/main" id="{B8DB02C4-948B-B91A-F779-05DD9EF006F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79797" y="4870328"/>
                    <a:ext cx="720" cy="360"/>
                  </p14:xfrm>
                </p:contentPart>
              </mc:Choice>
              <mc:Fallback xmlns="">
                <p:pic>
                  <p:nvPicPr>
                    <p:cNvPr id="675" name="Input penna 674">
                      <a:extLst>
                        <a:ext uri="{FF2B5EF4-FFF2-40B4-BE49-F238E27FC236}">
                          <a16:creationId xmlns:a16="http://schemas.microsoft.com/office/drawing/2014/main" id="{B8DB02C4-948B-B91A-F779-05DD9EF006F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14"/>
                    <a:stretch>
                      <a:fillRect/>
                    </a:stretch>
                  </p:blipFill>
                  <p:spPr>
                    <a:xfrm>
                      <a:off x="4175477" y="4866008"/>
                      <a:ext cx="9360" cy="9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5">
                  <p14:nvContentPartPr>
                    <p14:cNvPr id="676" name="Input penna 675">
                      <a:extLst>
                        <a:ext uri="{FF2B5EF4-FFF2-40B4-BE49-F238E27FC236}">
                          <a16:creationId xmlns:a16="http://schemas.microsoft.com/office/drawing/2014/main" id="{AABF354B-D4A6-017B-D69C-593F844D99C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02037" y="4786808"/>
                    <a:ext cx="80280" cy="31320"/>
                  </p14:xfrm>
                </p:contentPart>
              </mc:Choice>
              <mc:Fallback xmlns="">
                <p:pic>
                  <p:nvPicPr>
                    <p:cNvPr id="676" name="Input penna 675">
                      <a:extLst>
                        <a:ext uri="{FF2B5EF4-FFF2-40B4-BE49-F238E27FC236}">
                          <a16:creationId xmlns:a16="http://schemas.microsoft.com/office/drawing/2014/main" id="{AABF354B-D4A6-017B-D69C-593F844D99C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16"/>
                    <a:stretch>
                      <a:fillRect/>
                    </a:stretch>
                  </p:blipFill>
                  <p:spPr>
                    <a:xfrm>
                      <a:off x="4097019" y="4781797"/>
                      <a:ext cx="90315" cy="413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7">
                  <p14:nvContentPartPr>
                    <p14:cNvPr id="677" name="Input penna 676">
                      <a:extLst>
                        <a:ext uri="{FF2B5EF4-FFF2-40B4-BE49-F238E27FC236}">
                          <a16:creationId xmlns:a16="http://schemas.microsoft.com/office/drawing/2014/main" id="{BA8AB660-0AE1-A38A-E339-42577814AD9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408642" y="4727839"/>
                    <a:ext cx="936360" cy="223200"/>
                  </p14:xfrm>
                </p:contentPart>
              </mc:Choice>
              <mc:Fallback xmlns="">
                <p:pic>
                  <p:nvPicPr>
                    <p:cNvPr id="677" name="Input penna 676">
                      <a:extLst>
                        <a:ext uri="{FF2B5EF4-FFF2-40B4-BE49-F238E27FC236}">
                          <a16:creationId xmlns:a16="http://schemas.microsoft.com/office/drawing/2014/main" id="{BA8AB660-0AE1-A38A-E339-42577814AD9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18"/>
                    <a:stretch>
                      <a:fillRect/>
                    </a:stretch>
                  </p:blipFill>
                  <p:spPr>
                    <a:xfrm>
                      <a:off x="4403630" y="4722833"/>
                      <a:ext cx="946383" cy="23321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9">
                  <p14:nvContentPartPr>
                    <p14:cNvPr id="678" name="Input penna 677">
                      <a:extLst>
                        <a:ext uri="{FF2B5EF4-FFF2-40B4-BE49-F238E27FC236}">
                          <a16:creationId xmlns:a16="http://schemas.microsoft.com/office/drawing/2014/main" id="{183DE762-5282-CAEC-B410-738EA716B39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81362" y="4960759"/>
                    <a:ext cx="720" cy="720"/>
                  </p14:xfrm>
                </p:contentPart>
              </mc:Choice>
              <mc:Fallback xmlns="">
                <p:pic>
                  <p:nvPicPr>
                    <p:cNvPr id="678" name="Input penna 677">
                      <a:extLst>
                        <a:ext uri="{FF2B5EF4-FFF2-40B4-BE49-F238E27FC236}">
                          <a16:creationId xmlns:a16="http://schemas.microsoft.com/office/drawing/2014/main" id="{183DE762-5282-CAEC-B410-738EA716B39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0"/>
                    <a:stretch>
                      <a:fillRect/>
                    </a:stretch>
                  </p:blipFill>
                  <p:spPr>
                    <a:xfrm>
                      <a:off x="5377042" y="4956439"/>
                      <a:ext cx="9360" cy="93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1">
                  <p14:nvContentPartPr>
                    <p14:cNvPr id="679" name="Input penna 678">
                      <a:extLst>
                        <a:ext uri="{FF2B5EF4-FFF2-40B4-BE49-F238E27FC236}">
                          <a16:creationId xmlns:a16="http://schemas.microsoft.com/office/drawing/2014/main" id="{07BEC1F5-D95D-E99E-576B-08472C8B788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43237" y="4240688"/>
                    <a:ext cx="32040" cy="142200"/>
                  </p14:xfrm>
                </p:contentPart>
              </mc:Choice>
              <mc:Fallback xmlns="">
                <p:pic>
                  <p:nvPicPr>
                    <p:cNvPr id="679" name="Input penna 678">
                      <a:extLst>
                        <a:ext uri="{FF2B5EF4-FFF2-40B4-BE49-F238E27FC236}">
                          <a16:creationId xmlns:a16="http://schemas.microsoft.com/office/drawing/2014/main" id="{07BEC1F5-D95D-E99E-576B-08472C8B788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2"/>
                    <a:stretch>
                      <a:fillRect/>
                    </a:stretch>
                  </p:blipFill>
                  <p:spPr>
                    <a:xfrm>
                      <a:off x="4338244" y="4235684"/>
                      <a:ext cx="42026" cy="15220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3">
                  <p14:nvContentPartPr>
                    <p14:cNvPr id="680" name="Input penna 679">
                      <a:extLst>
                        <a:ext uri="{FF2B5EF4-FFF2-40B4-BE49-F238E27FC236}">
                          <a16:creationId xmlns:a16="http://schemas.microsoft.com/office/drawing/2014/main" id="{B98B264F-8C3B-3B91-491B-B94379BC123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10957" y="4238888"/>
                    <a:ext cx="324720" cy="58680"/>
                  </p14:xfrm>
                </p:contentPart>
              </mc:Choice>
              <mc:Fallback xmlns="">
                <p:pic>
                  <p:nvPicPr>
                    <p:cNvPr id="680" name="Input penna 679">
                      <a:extLst>
                        <a:ext uri="{FF2B5EF4-FFF2-40B4-BE49-F238E27FC236}">
                          <a16:creationId xmlns:a16="http://schemas.microsoft.com/office/drawing/2014/main" id="{B98B264F-8C3B-3B91-491B-B94379BC123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4"/>
                    <a:stretch>
                      <a:fillRect/>
                    </a:stretch>
                  </p:blipFill>
                  <p:spPr>
                    <a:xfrm>
                      <a:off x="4005948" y="4233858"/>
                      <a:ext cx="334737" cy="687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5">
                  <p14:nvContentPartPr>
                    <p14:cNvPr id="681" name="Input penna 680">
                      <a:extLst>
                        <a:ext uri="{FF2B5EF4-FFF2-40B4-BE49-F238E27FC236}">
                          <a16:creationId xmlns:a16="http://schemas.microsoft.com/office/drawing/2014/main" id="{99019A70-E3DB-889C-A7B5-4526EDD6FB2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3980357" y="4214768"/>
                    <a:ext cx="381240" cy="60480"/>
                  </p14:xfrm>
                </p:contentPart>
              </mc:Choice>
              <mc:Fallback xmlns="">
                <p:pic>
                  <p:nvPicPr>
                    <p:cNvPr id="681" name="Input penna 680">
                      <a:extLst>
                        <a:ext uri="{FF2B5EF4-FFF2-40B4-BE49-F238E27FC236}">
                          <a16:creationId xmlns:a16="http://schemas.microsoft.com/office/drawing/2014/main" id="{99019A70-E3DB-889C-A7B5-4526EDD6FB2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6"/>
                    <a:stretch>
                      <a:fillRect/>
                    </a:stretch>
                  </p:blipFill>
                  <p:spPr>
                    <a:xfrm>
                      <a:off x="3975346" y="4209728"/>
                      <a:ext cx="391262" cy="705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7">
                  <p14:nvContentPartPr>
                    <p14:cNvPr id="682" name="Input penna 681">
                      <a:extLst>
                        <a:ext uri="{FF2B5EF4-FFF2-40B4-BE49-F238E27FC236}">
                          <a16:creationId xmlns:a16="http://schemas.microsoft.com/office/drawing/2014/main" id="{93F9D0D4-1223-BC7C-1DA0-4FEB1856112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59437" y="4209008"/>
                    <a:ext cx="26640" cy="75960"/>
                  </p14:xfrm>
                </p:contentPart>
              </mc:Choice>
              <mc:Fallback xmlns="">
                <p:pic>
                  <p:nvPicPr>
                    <p:cNvPr id="682" name="Input penna 681">
                      <a:extLst>
                        <a:ext uri="{FF2B5EF4-FFF2-40B4-BE49-F238E27FC236}">
                          <a16:creationId xmlns:a16="http://schemas.microsoft.com/office/drawing/2014/main" id="{93F9D0D4-1223-BC7C-1DA0-4FEB1856112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8"/>
                    <a:stretch>
                      <a:fillRect/>
                    </a:stretch>
                  </p:blipFill>
                  <p:spPr>
                    <a:xfrm>
                      <a:off x="4354442" y="4204000"/>
                      <a:ext cx="36630" cy="8597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9">
                  <p14:nvContentPartPr>
                    <p14:cNvPr id="683" name="Input penna 682">
                      <a:extLst>
                        <a:ext uri="{FF2B5EF4-FFF2-40B4-BE49-F238E27FC236}">
                          <a16:creationId xmlns:a16="http://schemas.microsoft.com/office/drawing/2014/main" id="{FE189CA3-9CEA-1E24-7BF4-5DD29AF7BC4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66037" y="4457768"/>
                    <a:ext cx="308160" cy="70560"/>
                  </p14:xfrm>
                </p:contentPart>
              </mc:Choice>
              <mc:Fallback xmlns="">
                <p:pic>
                  <p:nvPicPr>
                    <p:cNvPr id="683" name="Input penna 682">
                      <a:extLst>
                        <a:ext uri="{FF2B5EF4-FFF2-40B4-BE49-F238E27FC236}">
                          <a16:creationId xmlns:a16="http://schemas.microsoft.com/office/drawing/2014/main" id="{FE189CA3-9CEA-1E24-7BF4-5DD29AF7BC4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0"/>
                    <a:stretch>
                      <a:fillRect/>
                    </a:stretch>
                  </p:blipFill>
                  <p:spPr>
                    <a:xfrm>
                      <a:off x="4061026" y="4452758"/>
                      <a:ext cx="318181" cy="805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1">
                  <p14:nvContentPartPr>
                    <p14:cNvPr id="684" name="Input penna 683">
                      <a:extLst>
                        <a:ext uri="{FF2B5EF4-FFF2-40B4-BE49-F238E27FC236}">
                          <a16:creationId xmlns:a16="http://schemas.microsoft.com/office/drawing/2014/main" id="{E2FF1FDD-CBE0-1CFB-1C2D-DBA0FF60829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59917" y="4527968"/>
                    <a:ext cx="265680" cy="72720"/>
                  </p14:xfrm>
                </p:contentPart>
              </mc:Choice>
              <mc:Fallback xmlns="">
                <p:pic>
                  <p:nvPicPr>
                    <p:cNvPr id="684" name="Input penna 683">
                      <a:extLst>
                        <a:ext uri="{FF2B5EF4-FFF2-40B4-BE49-F238E27FC236}">
                          <a16:creationId xmlns:a16="http://schemas.microsoft.com/office/drawing/2014/main" id="{E2FF1FDD-CBE0-1CFB-1C2D-DBA0FF60829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2"/>
                    <a:stretch>
                      <a:fillRect/>
                    </a:stretch>
                  </p:blipFill>
                  <p:spPr>
                    <a:xfrm>
                      <a:off x="4054904" y="4522953"/>
                      <a:ext cx="275706" cy="827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3">
                  <p14:nvContentPartPr>
                    <p14:cNvPr id="685" name="Input penna 684">
                      <a:extLst>
                        <a:ext uri="{FF2B5EF4-FFF2-40B4-BE49-F238E27FC236}">
                          <a16:creationId xmlns:a16="http://schemas.microsoft.com/office/drawing/2014/main" id="{A88D6734-BFB2-BDBD-777B-D3686421D49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42997" y="4527608"/>
                    <a:ext cx="41400" cy="8280"/>
                  </p14:xfrm>
                </p:contentPart>
              </mc:Choice>
              <mc:Fallback xmlns="">
                <p:pic>
                  <p:nvPicPr>
                    <p:cNvPr id="685" name="Input penna 684">
                      <a:extLst>
                        <a:ext uri="{FF2B5EF4-FFF2-40B4-BE49-F238E27FC236}">
                          <a16:creationId xmlns:a16="http://schemas.microsoft.com/office/drawing/2014/main" id="{A88D6734-BFB2-BDBD-777B-D3686421D49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4"/>
                    <a:stretch>
                      <a:fillRect/>
                    </a:stretch>
                  </p:blipFill>
                  <p:spPr>
                    <a:xfrm>
                      <a:off x="4037979" y="4522640"/>
                      <a:ext cx="51436" cy="182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5">
                  <p14:nvContentPartPr>
                    <p14:cNvPr id="686" name="Input penna 685">
                      <a:extLst>
                        <a:ext uri="{FF2B5EF4-FFF2-40B4-BE49-F238E27FC236}">
                          <a16:creationId xmlns:a16="http://schemas.microsoft.com/office/drawing/2014/main" id="{A95BFB9E-7F58-9833-06DC-548E51F4652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79717" y="4552808"/>
                    <a:ext cx="7560" cy="63000"/>
                  </p14:xfrm>
                </p:contentPart>
              </mc:Choice>
              <mc:Fallback xmlns="">
                <p:pic>
                  <p:nvPicPr>
                    <p:cNvPr id="686" name="Input penna 685">
                      <a:extLst>
                        <a:ext uri="{FF2B5EF4-FFF2-40B4-BE49-F238E27FC236}">
                          <a16:creationId xmlns:a16="http://schemas.microsoft.com/office/drawing/2014/main" id="{A95BFB9E-7F58-9833-06DC-548E51F4652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6"/>
                    <a:stretch>
                      <a:fillRect/>
                    </a:stretch>
                  </p:blipFill>
                  <p:spPr>
                    <a:xfrm>
                      <a:off x="4074942" y="4547768"/>
                      <a:ext cx="17109" cy="730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7">
                  <p14:nvContentPartPr>
                    <p14:cNvPr id="687" name="Input penna 686">
                      <a:extLst>
                        <a:ext uri="{FF2B5EF4-FFF2-40B4-BE49-F238E27FC236}">
                          <a16:creationId xmlns:a16="http://schemas.microsoft.com/office/drawing/2014/main" id="{575D8D92-CC5D-4A53-BD64-31C032338C7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86557" y="4563248"/>
                    <a:ext cx="30240" cy="11160"/>
                  </p14:xfrm>
                </p:contentPart>
              </mc:Choice>
              <mc:Fallback xmlns="">
                <p:pic>
                  <p:nvPicPr>
                    <p:cNvPr id="687" name="Input penna 686">
                      <a:extLst>
                        <a:ext uri="{FF2B5EF4-FFF2-40B4-BE49-F238E27FC236}">
                          <a16:creationId xmlns:a16="http://schemas.microsoft.com/office/drawing/2014/main" id="{575D8D92-CC5D-4A53-BD64-31C032338C7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8"/>
                    <a:stretch>
                      <a:fillRect/>
                    </a:stretch>
                  </p:blipFill>
                  <p:spPr>
                    <a:xfrm>
                      <a:off x="4081517" y="4558097"/>
                      <a:ext cx="40320" cy="214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9">
                  <p14:nvContentPartPr>
                    <p14:cNvPr id="688" name="Input penna 687">
                      <a:extLst>
                        <a:ext uri="{FF2B5EF4-FFF2-40B4-BE49-F238E27FC236}">
                          <a16:creationId xmlns:a16="http://schemas.microsoft.com/office/drawing/2014/main" id="{139F356A-2932-3C46-1D6D-5C8C1826CBE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73218" y="2991189"/>
                    <a:ext cx="19800" cy="1463400"/>
                  </p14:xfrm>
                </p:contentPart>
              </mc:Choice>
              <mc:Fallback xmlns="">
                <p:pic>
                  <p:nvPicPr>
                    <p:cNvPr id="688" name="Input penna 687">
                      <a:extLst>
                        <a:ext uri="{FF2B5EF4-FFF2-40B4-BE49-F238E27FC236}">
                          <a16:creationId xmlns:a16="http://schemas.microsoft.com/office/drawing/2014/main" id="{139F356A-2932-3C46-1D6D-5C8C1826CBE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0"/>
                    <a:stretch>
                      <a:fillRect/>
                    </a:stretch>
                  </p:blipFill>
                  <p:spPr>
                    <a:xfrm>
                      <a:off x="4368268" y="2986179"/>
                      <a:ext cx="29700" cy="14734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1">
                  <p14:nvContentPartPr>
                    <p14:cNvPr id="689" name="Input penna 688">
                      <a:extLst>
                        <a:ext uri="{FF2B5EF4-FFF2-40B4-BE49-F238E27FC236}">
                          <a16:creationId xmlns:a16="http://schemas.microsoft.com/office/drawing/2014/main" id="{B3C71C6F-98DA-B5A2-B940-FEBC40EB37F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16378" y="2934309"/>
                    <a:ext cx="29520" cy="1625760"/>
                  </p14:xfrm>
                </p:contentPart>
              </mc:Choice>
              <mc:Fallback xmlns="">
                <p:pic>
                  <p:nvPicPr>
                    <p:cNvPr id="689" name="Input penna 688">
                      <a:extLst>
                        <a:ext uri="{FF2B5EF4-FFF2-40B4-BE49-F238E27FC236}">
                          <a16:creationId xmlns:a16="http://schemas.microsoft.com/office/drawing/2014/main" id="{B3C71C6F-98DA-B5A2-B940-FEBC40EB37F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2"/>
                    <a:stretch>
                      <a:fillRect/>
                    </a:stretch>
                  </p:blipFill>
                  <p:spPr>
                    <a:xfrm>
                      <a:off x="4811389" y="2929298"/>
                      <a:ext cx="39499" cy="163578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3">
                  <p14:nvContentPartPr>
                    <p14:cNvPr id="690" name="Input penna 689">
                      <a:extLst>
                        <a:ext uri="{FF2B5EF4-FFF2-40B4-BE49-F238E27FC236}">
                          <a16:creationId xmlns:a16="http://schemas.microsoft.com/office/drawing/2014/main" id="{31935AD8-8623-2B2F-F5A5-2BF20DC1454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48738" y="2936109"/>
                    <a:ext cx="479520" cy="65520"/>
                  </p14:xfrm>
                </p:contentPart>
              </mc:Choice>
              <mc:Fallback xmlns="">
                <p:pic>
                  <p:nvPicPr>
                    <p:cNvPr id="690" name="Input penna 689">
                      <a:extLst>
                        <a:ext uri="{FF2B5EF4-FFF2-40B4-BE49-F238E27FC236}">
                          <a16:creationId xmlns:a16="http://schemas.microsoft.com/office/drawing/2014/main" id="{31935AD8-8623-2B2F-F5A5-2BF20DC1454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4"/>
                    <a:stretch>
                      <a:fillRect/>
                    </a:stretch>
                  </p:blipFill>
                  <p:spPr>
                    <a:xfrm>
                      <a:off x="4343726" y="2931133"/>
                      <a:ext cx="489545" cy="7547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5">
                  <p14:nvContentPartPr>
                    <p14:cNvPr id="691" name="Input penna 690">
                      <a:extLst>
                        <a:ext uri="{FF2B5EF4-FFF2-40B4-BE49-F238E27FC236}">
                          <a16:creationId xmlns:a16="http://schemas.microsoft.com/office/drawing/2014/main" id="{CD9E1C29-3372-17B4-3704-78F6C0F9A74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40498" y="4365309"/>
                    <a:ext cx="980640" cy="137520"/>
                  </p14:xfrm>
                </p:contentPart>
              </mc:Choice>
              <mc:Fallback xmlns="">
                <p:pic>
                  <p:nvPicPr>
                    <p:cNvPr id="691" name="Input penna 690">
                      <a:extLst>
                        <a:ext uri="{FF2B5EF4-FFF2-40B4-BE49-F238E27FC236}">
                          <a16:creationId xmlns:a16="http://schemas.microsoft.com/office/drawing/2014/main" id="{CD9E1C29-3372-17B4-3704-78F6C0F9A74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6"/>
                    <a:stretch>
                      <a:fillRect/>
                    </a:stretch>
                  </p:blipFill>
                  <p:spPr>
                    <a:xfrm>
                      <a:off x="4835488" y="4360293"/>
                      <a:ext cx="990659" cy="14755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7">
                  <p14:nvContentPartPr>
                    <p14:cNvPr id="692" name="Input penna 691">
                      <a:extLst>
                        <a:ext uri="{FF2B5EF4-FFF2-40B4-BE49-F238E27FC236}">
                          <a16:creationId xmlns:a16="http://schemas.microsoft.com/office/drawing/2014/main" id="{8202804D-5239-E30D-19FD-EF8D80D3C56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33018" y="4505349"/>
                    <a:ext cx="3960" cy="218160"/>
                  </p14:xfrm>
                </p:contentPart>
              </mc:Choice>
              <mc:Fallback xmlns="">
                <p:pic>
                  <p:nvPicPr>
                    <p:cNvPr id="692" name="Input penna 691">
                      <a:extLst>
                        <a:ext uri="{FF2B5EF4-FFF2-40B4-BE49-F238E27FC236}">
                          <a16:creationId xmlns:a16="http://schemas.microsoft.com/office/drawing/2014/main" id="{8202804D-5239-E30D-19FD-EF8D80D3C56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8"/>
                    <a:stretch>
                      <a:fillRect/>
                    </a:stretch>
                  </p:blipFill>
                  <p:spPr>
                    <a:xfrm>
                      <a:off x="5828266" y="4500343"/>
                      <a:ext cx="13464" cy="22817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9">
                  <p14:nvContentPartPr>
                    <p14:cNvPr id="693" name="Input penna 692">
                      <a:extLst>
                        <a:ext uri="{FF2B5EF4-FFF2-40B4-BE49-F238E27FC236}">
                          <a16:creationId xmlns:a16="http://schemas.microsoft.com/office/drawing/2014/main" id="{6A7FA804-FC03-7B7F-45C0-A40D36CF5B8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46618" y="4354509"/>
                    <a:ext cx="66960" cy="15480"/>
                  </p14:xfrm>
                </p:contentPart>
              </mc:Choice>
              <mc:Fallback xmlns="">
                <p:pic>
                  <p:nvPicPr>
                    <p:cNvPr id="693" name="Input penna 692">
                      <a:extLst>
                        <a:ext uri="{FF2B5EF4-FFF2-40B4-BE49-F238E27FC236}">
                          <a16:creationId xmlns:a16="http://schemas.microsoft.com/office/drawing/2014/main" id="{6A7FA804-FC03-7B7F-45C0-A40D36CF5B8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0"/>
                    <a:stretch>
                      <a:fillRect/>
                    </a:stretch>
                  </p:blipFill>
                  <p:spPr>
                    <a:xfrm>
                      <a:off x="4841596" y="4349488"/>
                      <a:ext cx="77004" cy="255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1">
                  <p14:nvContentPartPr>
                    <p14:cNvPr id="694" name="Input penna 693">
                      <a:extLst>
                        <a:ext uri="{FF2B5EF4-FFF2-40B4-BE49-F238E27FC236}">
                          <a16:creationId xmlns:a16="http://schemas.microsoft.com/office/drawing/2014/main" id="{7DACECD0-9FC8-5BF0-81A3-0EDBAB70777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16818" y="4343709"/>
                    <a:ext cx="924120" cy="156240"/>
                  </p14:xfrm>
                </p:contentPart>
              </mc:Choice>
              <mc:Fallback xmlns="">
                <p:pic>
                  <p:nvPicPr>
                    <p:cNvPr id="694" name="Input penna 693">
                      <a:extLst>
                        <a:ext uri="{FF2B5EF4-FFF2-40B4-BE49-F238E27FC236}">
                          <a16:creationId xmlns:a16="http://schemas.microsoft.com/office/drawing/2014/main" id="{7DACECD0-9FC8-5BF0-81A3-0EDBAB70777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2"/>
                    <a:stretch>
                      <a:fillRect/>
                    </a:stretch>
                  </p:blipFill>
                  <p:spPr>
                    <a:xfrm>
                      <a:off x="4911807" y="4338696"/>
                      <a:ext cx="934142" cy="16626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3">
                  <p14:nvContentPartPr>
                    <p14:cNvPr id="695" name="Input penna 694">
                      <a:extLst>
                        <a:ext uri="{FF2B5EF4-FFF2-40B4-BE49-F238E27FC236}">
                          <a16:creationId xmlns:a16="http://schemas.microsoft.com/office/drawing/2014/main" id="{758E4D81-8FE2-0C4A-156C-9F3C51DC0F9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74698" y="2985429"/>
                    <a:ext cx="9360" cy="1372680"/>
                  </p14:xfrm>
                </p:contentPart>
              </mc:Choice>
              <mc:Fallback xmlns="">
                <p:pic>
                  <p:nvPicPr>
                    <p:cNvPr id="695" name="Input penna 694">
                      <a:extLst>
                        <a:ext uri="{FF2B5EF4-FFF2-40B4-BE49-F238E27FC236}">
                          <a16:creationId xmlns:a16="http://schemas.microsoft.com/office/drawing/2014/main" id="{758E4D81-8FE2-0C4A-156C-9F3C51DC0F9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4"/>
                    <a:stretch>
                      <a:fillRect/>
                    </a:stretch>
                  </p:blipFill>
                  <p:spPr>
                    <a:xfrm>
                      <a:off x="4869593" y="2980418"/>
                      <a:ext cx="19571" cy="138270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5">
                  <p14:nvContentPartPr>
                    <p14:cNvPr id="696" name="Input penna 695">
                      <a:extLst>
                        <a:ext uri="{FF2B5EF4-FFF2-40B4-BE49-F238E27FC236}">
                          <a16:creationId xmlns:a16="http://schemas.microsoft.com/office/drawing/2014/main" id="{1B797190-8308-2D14-8774-98A655D7BB9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70738" y="2873469"/>
                    <a:ext cx="882720" cy="113040"/>
                  </p14:xfrm>
                </p:contentPart>
              </mc:Choice>
              <mc:Fallback xmlns="">
                <p:pic>
                  <p:nvPicPr>
                    <p:cNvPr id="696" name="Input penna 695">
                      <a:extLst>
                        <a:ext uri="{FF2B5EF4-FFF2-40B4-BE49-F238E27FC236}">
                          <a16:creationId xmlns:a16="http://schemas.microsoft.com/office/drawing/2014/main" id="{1B797190-8308-2D14-8774-98A655D7BB9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6"/>
                    <a:stretch>
                      <a:fillRect/>
                    </a:stretch>
                  </p:blipFill>
                  <p:spPr>
                    <a:xfrm>
                      <a:off x="4865727" y="2868464"/>
                      <a:ext cx="892741" cy="1230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7">
                  <p14:nvContentPartPr>
                    <p14:cNvPr id="697" name="Input penna 696">
                      <a:extLst>
                        <a:ext uri="{FF2B5EF4-FFF2-40B4-BE49-F238E27FC236}">
                          <a16:creationId xmlns:a16="http://schemas.microsoft.com/office/drawing/2014/main" id="{43A1574A-CF76-5E3B-45CF-C91C2862D7C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18898" y="2926749"/>
                    <a:ext cx="255960" cy="26280"/>
                  </p14:xfrm>
                </p:contentPart>
              </mc:Choice>
              <mc:Fallback xmlns="">
                <p:pic>
                  <p:nvPicPr>
                    <p:cNvPr id="697" name="Input penna 696">
                      <a:extLst>
                        <a:ext uri="{FF2B5EF4-FFF2-40B4-BE49-F238E27FC236}">
                          <a16:creationId xmlns:a16="http://schemas.microsoft.com/office/drawing/2014/main" id="{43A1574A-CF76-5E3B-45CF-C91C2862D7C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8"/>
                    <a:stretch>
                      <a:fillRect/>
                    </a:stretch>
                  </p:blipFill>
                  <p:spPr>
                    <a:xfrm>
                      <a:off x="4813887" y="2921743"/>
                      <a:ext cx="265981" cy="362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9">
                  <p14:nvContentPartPr>
                    <p14:cNvPr id="698" name="Input penna 697">
                      <a:extLst>
                        <a:ext uri="{FF2B5EF4-FFF2-40B4-BE49-F238E27FC236}">
                          <a16:creationId xmlns:a16="http://schemas.microsoft.com/office/drawing/2014/main" id="{5A19C9C1-81AA-7D74-1656-B4A7D5C0FF0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60258" y="3449469"/>
                    <a:ext cx="71640" cy="582120"/>
                  </p14:xfrm>
                </p:contentPart>
              </mc:Choice>
              <mc:Fallback xmlns="">
                <p:pic>
                  <p:nvPicPr>
                    <p:cNvPr id="698" name="Input penna 697">
                      <a:extLst>
                        <a:ext uri="{FF2B5EF4-FFF2-40B4-BE49-F238E27FC236}">
                          <a16:creationId xmlns:a16="http://schemas.microsoft.com/office/drawing/2014/main" id="{5A19C9C1-81AA-7D74-1656-B4A7D5C0FF0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0"/>
                    <a:stretch>
                      <a:fillRect/>
                    </a:stretch>
                  </p:blipFill>
                  <p:spPr>
                    <a:xfrm>
                      <a:off x="5255260" y="3444458"/>
                      <a:ext cx="81636" cy="5921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1">
                  <p14:nvContentPartPr>
                    <p14:cNvPr id="699" name="Input penna 698">
                      <a:extLst>
                        <a:ext uri="{FF2B5EF4-FFF2-40B4-BE49-F238E27FC236}">
                          <a16:creationId xmlns:a16="http://schemas.microsoft.com/office/drawing/2014/main" id="{D2398735-87DE-8676-1045-55E8AD442DD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99498" y="3440829"/>
                    <a:ext cx="38520" cy="7920"/>
                  </p14:xfrm>
                </p:contentPart>
              </mc:Choice>
              <mc:Fallback xmlns="">
                <p:pic>
                  <p:nvPicPr>
                    <p:cNvPr id="699" name="Input penna 698">
                      <a:extLst>
                        <a:ext uri="{FF2B5EF4-FFF2-40B4-BE49-F238E27FC236}">
                          <a16:creationId xmlns:a16="http://schemas.microsoft.com/office/drawing/2014/main" id="{D2398735-87DE-8676-1045-55E8AD442DD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2"/>
                    <a:stretch>
                      <a:fillRect/>
                    </a:stretch>
                  </p:blipFill>
                  <p:spPr>
                    <a:xfrm>
                      <a:off x="5294474" y="3435827"/>
                      <a:ext cx="48569" cy="1792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3">
                  <p14:nvContentPartPr>
                    <p14:cNvPr id="700" name="Input penna 699">
                      <a:extLst>
                        <a:ext uri="{FF2B5EF4-FFF2-40B4-BE49-F238E27FC236}">
                          <a16:creationId xmlns:a16="http://schemas.microsoft.com/office/drawing/2014/main" id="{3B4657CD-1AD0-46E1-399B-08312FF75F1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32178" y="3446589"/>
                    <a:ext cx="101520" cy="596160"/>
                  </p14:xfrm>
                </p:contentPart>
              </mc:Choice>
              <mc:Fallback xmlns="">
                <p:pic>
                  <p:nvPicPr>
                    <p:cNvPr id="700" name="Input penna 699">
                      <a:extLst>
                        <a:ext uri="{FF2B5EF4-FFF2-40B4-BE49-F238E27FC236}">
                          <a16:creationId xmlns:a16="http://schemas.microsoft.com/office/drawing/2014/main" id="{3B4657CD-1AD0-46E1-399B-08312FF75F1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4"/>
                    <a:stretch>
                      <a:fillRect/>
                    </a:stretch>
                  </p:blipFill>
                  <p:spPr>
                    <a:xfrm>
                      <a:off x="5227165" y="3441583"/>
                      <a:ext cx="111547" cy="60617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5">
                  <p14:nvContentPartPr>
                    <p14:cNvPr id="701" name="Input penna 700">
                      <a:extLst>
                        <a:ext uri="{FF2B5EF4-FFF2-40B4-BE49-F238E27FC236}">
                          <a16:creationId xmlns:a16="http://schemas.microsoft.com/office/drawing/2014/main" id="{776D3CE7-CB83-17F3-3083-B0C5274B88F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63218" y="3437589"/>
                    <a:ext cx="33120" cy="5760"/>
                  </p14:xfrm>
                </p:contentPart>
              </mc:Choice>
              <mc:Fallback xmlns="">
                <p:pic>
                  <p:nvPicPr>
                    <p:cNvPr id="701" name="Input penna 700">
                      <a:extLst>
                        <a:ext uri="{FF2B5EF4-FFF2-40B4-BE49-F238E27FC236}">
                          <a16:creationId xmlns:a16="http://schemas.microsoft.com/office/drawing/2014/main" id="{776D3CE7-CB83-17F3-3083-B0C5274B88F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6"/>
                    <a:stretch>
                      <a:fillRect/>
                    </a:stretch>
                  </p:blipFill>
                  <p:spPr>
                    <a:xfrm>
                      <a:off x="5358187" y="3432981"/>
                      <a:ext cx="43182" cy="1497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7">
                  <p14:nvContentPartPr>
                    <p14:cNvPr id="702" name="Input penna 701">
                      <a:extLst>
                        <a:ext uri="{FF2B5EF4-FFF2-40B4-BE49-F238E27FC236}">
                          <a16:creationId xmlns:a16="http://schemas.microsoft.com/office/drawing/2014/main" id="{09C69805-9560-7878-3E08-2A4E9C0100A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06338" y="3433269"/>
                    <a:ext cx="97200" cy="615240"/>
                  </p14:xfrm>
                </p:contentPart>
              </mc:Choice>
              <mc:Fallback xmlns="">
                <p:pic>
                  <p:nvPicPr>
                    <p:cNvPr id="702" name="Input penna 701">
                      <a:extLst>
                        <a:ext uri="{FF2B5EF4-FFF2-40B4-BE49-F238E27FC236}">
                          <a16:creationId xmlns:a16="http://schemas.microsoft.com/office/drawing/2014/main" id="{09C69805-9560-7878-3E08-2A4E9C0100A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8"/>
                    <a:stretch>
                      <a:fillRect/>
                    </a:stretch>
                  </p:blipFill>
                  <p:spPr>
                    <a:xfrm>
                      <a:off x="5301332" y="3428257"/>
                      <a:ext cx="107212" cy="62526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9">
                  <p14:nvContentPartPr>
                    <p14:cNvPr id="703" name="Input penna 702">
                      <a:extLst>
                        <a:ext uri="{FF2B5EF4-FFF2-40B4-BE49-F238E27FC236}">
                          <a16:creationId xmlns:a16="http://schemas.microsoft.com/office/drawing/2014/main" id="{28299BA0-0C55-6DC6-B420-E67243C8B76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34778" y="3441189"/>
                    <a:ext cx="80640" cy="615600"/>
                  </p14:xfrm>
                </p:contentPart>
              </mc:Choice>
              <mc:Fallback xmlns="">
                <p:pic>
                  <p:nvPicPr>
                    <p:cNvPr id="703" name="Input penna 702">
                      <a:extLst>
                        <a:ext uri="{FF2B5EF4-FFF2-40B4-BE49-F238E27FC236}">
                          <a16:creationId xmlns:a16="http://schemas.microsoft.com/office/drawing/2014/main" id="{28299BA0-0C55-6DC6-B420-E67243C8B76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0"/>
                    <a:stretch>
                      <a:fillRect/>
                    </a:stretch>
                  </p:blipFill>
                  <p:spPr>
                    <a:xfrm>
                      <a:off x="5329790" y="3436177"/>
                      <a:ext cx="90616" cy="62562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1">
                  <p14:nvContentPartPr>
                    <p14:cNvPr id="704" name="Input penna 703">
                      <a:extLst>
                        <a:ext uri="{FF2B5EF4-FFF2-40B4-BE49-F238E27FC236}">
                          <a16:creationId xmlns:a16="http://schemas.microsoft.com/office/drawing/2014/main" id="{AB601760-E63F-0099-5E2C-0812386D1C0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26138" y="2927829"/>
                    <a:ext cx="16920" cy="536040"/>
                  </p14:xfrm>
                </p:contentPart>
              </mc:Choice>
              <mc:Fallback xmlns="">
                <p:pic>
                  <p:nvPicPr>
                    <p:cNvPr id="704" name="Input penna 703">
                      <a:extLst>
                        <a:ext uri="{FF2B5EF4-FFF2-40B4-BE49-F238E27FC236}">
                          <a16:creationId xmlns:a16="http://schemas.microsoft.com/office/drawing/2014/main" id="{AB601760-E63F-0099-5E2C-0812386D1C0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2"/>
                    <a:stretch>
                      <a:fillRect/>
                    </a:stretch>
                  </p:blipFill>
                  <p:spPr>
                    <a:xfrm>
                      <a:off x="5321186" y="2922819"/>
                      <a:ext cx="26824" cy="54605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3">
                  <p14:nvContentPartPr>
                    <p14:cNvPr id="705" name="Input penna 704">
                      <a:extLst>
                        <a:ext uri="{FF2B5EF4-FFF2-40B4-BE49-F238E27FC236}">
                          <a16:creationId xmlns:a16="http://schemas.microsoft.com/office/drawing/2014/main" id="{6143EF4C-743E-DDA9-4656-C3F3E5809B0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46298" y="4007109"/>
                    <a:ext cx="7920" cy="400680"/>
                  </p14:xfrm>
                </p:contentPart>
              </mc:Choice>
              <mc:Fallback xmlns="">
                <p:pic>
                  <p:nvPicPr>
                    <p:cNvPr id="705" name="Input penna 704">
                      <a:extLst>
                        <a:ext uri="{FF2B5EF4-FFF2-40B4-BE49-F238E27FC236}">
                          <a16:creationId xmlns:a16="http://schemas.microsoft.com/office/drawing/2014/main" id="{6143EF4C-743E-DDA9-4656-C3F3E5809B0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4"/>
                    <a:stretch>
                      <a:fillRect/>
                    </a:stretch>
                  </p:blipFill>
                  <p:spPr>
                    <a:xfrm>
                      <a:off x="5341296" y="4002100"/>
                      <a:ext cx="17924" cy="41069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5">
                  <p14:nvContentPartPr>
                    <p14:cNvPr id="706" name="Input penna 705">
                      <a:extLst>
                        <a:ext uri="{FF2B5EF4-FFF2-40B4-BE49-F238E27FC236}">
                          <a16:creationId xmlns:a16="http://schemas.microsoft.com/office/drawing/2014/main" id="{92E0FDE8-C69D-3488-549A-D9F4EB7518F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40218" y="3217269"/>
                    <a:ext cx="21600" cy="995760"/>
                  </p14:xfrm>
                </p:contentPart>
              </mc:Choice>
              <mc:Fallback xmlns="">
                <p:pic>
                  <p:nvPicPr>
                    <p:cNvPr id="706" name="Input penna 705">
                      <a:extLst>
                        <a:ext uri="{FF2B5EF4-FFF2-40B4-BE49-F238E27FC236}">
                          <a16:creationId xmlns:a16="http://schemas.microsoft.com/office/drawing/2014/main" id="{92E0FDE8-C69D-3488-549A-D9F4EB7518F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6"/>
                    <a:stretch>
                      <a:fillRect/>
                    </a:stretch>
                  </p:blipFill>
                  <p:spPr>
                    <a:xfrm>
                      <a:off x="4935327" y="3212259"/>
                      <a:ext cx="31381" cy="10057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7">
                  <p14:nvContentPartPr>
                    <p14:cNvPr id="707" name="Input penna 706">
                      <a:extLst>
                        <a:ext uri="{FF2B5EF4-FFF2-40B4-BE49-F238E27FC236}">
                          <a16:creationId xmlns:a16="http://schemas.microsoft.com/office/drawing/2014/main" id="{711FC131-ABFA-0B3D-4356-014C63AA220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19218" y="3176949"/>
                    <a:ext cx="10440" cy="356040"/>
                  </p14:xfrm>
                </p:contentPart>
              </mc:Choice>
              <mc:Fallback xmlns="">
                <p:pic>
                  <p:nvPicPr>
                    <p:cNvPr id="707" name="Input penna 706">
                      <a:extLst>
                        <a:ext uri="{FF2B5EF4-FFF2-40B4-BE49-F238E27FC236}">
                          <a16:creationId xmlns:a16="http://schemas.microsoft.com/office/drawing/2014/main" id="{711FC131-ABFA-0B3D-4356-014C63AA220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8"/>
                    <a:stretch>
                      <a:fillRect/>
                    </a:stretch>
                  </p:blipFill>
                  <p:spPr>
                    <a:xfrm>
                      <a:off x="5213998" y="3171946"/>
                      <a:ext cx="20880" cy="36604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9">
                  <p14:nvContentPartPr>
                    <p14:cNvPr id="708" name="Input penna 707">
                      <a:extLst>
                        <a:ext uri="{FF2B5EF4-FFF2-40B4-BE49-F238E27FC236}">
                          <a16:creationId xmlns:a16="http://schemas.microsoft.com/office/drawing/2014/main" id="{4B57D657-9294-E129-0009-13C450FFD8B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44418" y="3944829"/>
                    <a:ext cx="2520" cy="279000"/>
                  </p14:xfrm>
                </p:contentPart>
              </mc:Choice>
              <mc:Fallback xmlns="">
                <p:pic>
                  <p:nvPicPr>
                    <p:cNvPr id="708" name="Input penna 707">
                      <a:extLst>
                        <a:ext uri="{FF2B5EF4-FFF2-40B4-BE49-F238E27FC236}">
                          <a16:creationId xmlns:a16="http://schemas.microsoft.com/office/drawing/2014/main" id="{4B57D657-9294-E129-0009-13C450FFD8B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0"/>
                    <a:stretch>
                      <a:fillRect/>
                    </a:stretch>
                  </p:blipFill>
                  <p:spPr>
                    <a:xfrm>
                      <a:off x="5239378" y="3939817"/>
                      <a:ext cx="12600" cy="28902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1">
                  <p14:nvContentPartPr>
                    <p14:cNvPr id="709" name="Input penna 708">
                      <a:extLst>
                        <a:ext uri="{FF2B5EF4-FFF2-40B4-BE49-F238E27FC236}">
                          <a16:creationId xmlns:a16="http://schemas.microsoft.com/office/drawing/2014/main" id="{02BF2BE4-6B5D-301D-703D-9037DB46AC3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58258" y="3188469"/>
                    <a:ext cx="21600" cy="1069200"/>
                  </p14:xfrm>
                </p:contentPart>
              </mc:Choice>
              <mc:Fallback xmlns="">
                <p:pic>
                  <p:nvPicPr>
                    <p:cNvPr id="709" name="Input penna 708">
                      <a:extLst>
                        <a:ext uri="{FF2B5EF4-FFF2-40B4-BE49-F238E27FC236}">
                          <a16:creationId xmlns:a16="http://schemas.microsoft.com/office/drawing/2014/main" id="{02BF2BE4-6B5D-301D-703D-9037DB46AC3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2"/>
                    <a:stretch>
                      <a:fillRect/>
                    </a:stretch>
                  </p:blipFill>
                  <p:spPr>
                    <a:xfrm>
                      <a:off x="5453273" y="3183459"/>
                      <a:ext cx="31569" cy="10792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3">
                  <p14:nvContentPartPr>
                    <p14:cNvPr id="710" name="Input penna 709">
                      <a:extLst>
                        <a:ext uri="{FF2B5EF4-FFF2-40B4-BE49-F238E27FC236}">
                          <a16:creationId xmlns:a16="http://schemas.microsoft.com/office/drawing/2014/main" id="{A62B5330-0F7E-21B3-2255-FA9DC8734F5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56778" y="3147429"/>
                    <a:ext cx="242640" cy="33840"/>
                  </p14:xfrm>
                </p:contentPart>
              </mc:Choice>
              <mc:Fallback xmlns="">
                <p:pic>
                  <p:nvPicPr>
                    <p:cNvPr id="710" name="Input penna 709">
                      <a:extLst>
                        <a:ext uri="{FF2B5EF4-FFF2-40B4-BE49-F238E27FC236}">
                          <a16:creationId xmlns:a16="http://schemas.microsoft.com/office/drawing/2014/main" id="{A62B5330-0F7E-21B3-2255-FA9DC8734F5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4"/>
                    <a:stretch>
                      <a:fillRect/>
                    </a:stretch>
                  </p:blipFill>
                  <p:spPr>
                    <a:xfrm>
                      <a:off x="4951767" y="3142353"/>
                      <a:ext cx="252663" cy="4399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5">
                  <p14:nvContentPartPr>
                    <p14:cNvPr id="711" name="Input penna 710">
                      <a:extLst>
                        <a:ext uri="{FF2B5EF4-FFF2-40B4-BE49-F238E27FC236}">
                          <a16:creationId xmlns:a16="http://schemas.microsoft.com/office/drawing/2014/main" id="{D30CE43D-344D-4F97-4EFD-3434A4FEAFF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95698" y="3091629"/>
                    <a:ext cx="262800" cy="29520"/>
                  </p14:xfrm>
                </p:contentPart>
              </mc:Choice>
              <mc:Fallback xmlns="">
                <p:pic>
                  <p:nvPicPr>
                    <p:cNvPr id="711" name="Input penna 710">
                      <a:extLst>
                        <a:ext uri="{FF2B5EF4-FFF2-40B4-BE49-F238E27FC236}">
                          <a16:creationId xmlns:a16="http://schemas.microsoft.com/office/drawing/2014/main" id="{D30CE43D-344D-4F97-4EFD-3434A4FEAFF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6"/>
                    <a:stretch>
                      <a:fillRect/>
                    </a:stretch>
                  </p:blipFill>
                  <p:spPr>
                    <a:xfrm>
                      <a:off x="5490684" y="3086640"/>
                      <a:ext cx="272827" cy="3949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7">
                  <p14:nvContentPartPr>
                    <p14:cNvPr id="712" name="Input penna 711">
                      <a:extLst>
                        <a:ext uri="{FF2B5EF4-FFF2-40B4-BE49-F238E27FC236}">
                          <a16:creationId xmlns:a16="http://schemas.microsoft.com/office/drawing/2014/main" id="{FF10EFA0-4A72-3E71-CDB7-42B6CD85160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514058" y="4296189"/>
                    <a:ext cx="274680" cy="27720"/>
                  </p14:xfrm>
                </p:contentPart>
              </mc:Choice>
              <mc:Fallback xmlns="">
                <p:pic>
                  <p:nvPicPr>
                    <p:cNvPr id="712" name="Input penna 711">
                      <a:extLst>
                        <a:ext uri="{FF2B5EF4-FFF2-40B4-BE49-F238E27FC236}">
                          <a16:creationId xmlns:a16="http://schemas.microsoft.com/office/drawing/2014/main" id="{FF10EFA0-4A72-3E71-CDB7-42B6CD85160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8"/>
                    <a:stretch>
                      <a:fillRect/>
                    </a:stretch>
                  </p:blipFill>
                  <p:spPr>
                    <a:xfrm>
                      <a:off x="5509049" y="4291224"/>
                      <a:ext cx="284699" cy="376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9">
                  <p14:nvContentPartPr>
                    <p14:cNvPr id="713" name="Input penna 712">
                      <a:extLst>
                        <a:ext uri="{FF2B5EF4-FFF2-40B4-BE49-F238E27FC236}">
                          <a16:creationId xmlns:a16="http://schemas.microsoft.com/office/drawing/2014/main" id="{5A93ABB3-6D15-DA4A-5094-FDE060812FB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89178" y="4213749"/>
                    <a:ext cx="257400" cy="36720"/>
                  </p14:xfrm>
                </p:contentPart>
              </mc:Choice>
              <mc:Fallback xmlns="">
                <p:pic>
                  <p:nvPicPr>
                    <p:cNvPr id="713" name="Input penna 712">
                      <a:extLst>
                        <a:ext uri="{FF2B5EF4-FFF2-40B4-BE49-F238E27FC236}">
                          <a16:creationId xmlns:a16="http://schemas.microsoft.com/office/drawing/2014/main" id="{5A93ABB3-6D15-DA4A-5094-FDE060812FB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0"/>
                    <a:stretch>
                      <a:fillRect/>
                    </a:stretch>
                  </p:blipFill>
                  <p:spPr>
                    <a:xfrm>
                      <a:off x="4984172" y="4208742"/>
                      <a:ext cx="267412" cy="4673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1">
                  <p14:nvContentPartPr>
                    <p14:cNvPr id="714" name="Input penna 713">
                      <a:extLst>
                        <a:ext uri="{FF2B5EF4-FFF2-40B4-BE49-F238E27FC236}">
                          <a16:creationId xmlns:a16="http://schemas.microsoft.com/office/drawing/2014/main" id="{BCB66C15-CEA9-DF67-D057-65F4DCCD8FA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68298" y="4206549"/>
                    <a:ext cx="31680" cy="24480"/>
                  </p14:xfrm>
                </p:contentPart>
              </mc:Choice>
              <mc:Fallback xmlns="">
                <p:pic>
                  <p:nvPicPr>
                    <p:cNvPr id="714" name="Input penna 713">
                      <a:extLst>
                        <a:ext uri="{FF2B5EF4-FFF2-40B4-BE49-F238E27FC236}">
                          <a16:creationId xmlns:a16="http://schemas.microsoft.com/office/drawing/2014/main" id="{BCB66C15-CEA9-DF67-D057-65F4DCCD8FA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2"/>
                    <a:stretch>
                      <a:fillRect/>
                    </a:stretch>
                  </p:blipFill>
                  <p:spPr>
                    <a:xfrm>
                      <a:off x="4963296" y="4201570"/>
                      <a:ext cx="41684" cy="3443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3">
                  <p14:nvContentPartPr>
                    <p14:cNvPr id="715" name="Input penna 714">
                      <a:extLst>
                        <a:ext uri="{FF2B5EF4-FFF2-40B4-BE49-F238E27FC236}">
                          <a16:creationId xmlns:a16="http://schemas.microsoft.com/office/drawing/2014/main" id="{65CC8FE3-A1B8-D5A0-90CC-7A2E7D4341F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59658" y="3182349"/>
                    <a:ext cx="3600" cy="5040"/>
                  </p14:xfrm>
                </p:contentPart>
              </mc:Choice>
              <mc:Fallback xmlns="">
                <p:pic>
                  <p:nvPicPr>
                    <p:cNvPr id="715" name="Input penna 714">
                      <a:extLst>
                        <a:ext uri="{FF2B5EF4-FFF2-40B4-BE49-F238E27FC236}">
                          <a16:creationId xmlns:a16="http://schemas.microsoft.com/office/drawing/2014/main" id="{65CC8FE3-A1B8-D5A0-90CC-7A2E7D4341F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4"/>
                    <a:stretch>
                      <a:fillRect/>
                    </a:stretch>
                  </p:blipFill>
                  <p:spPr>
                    <a:xfrm>
                      <a:off x="4954858" y="3177309"/>
                      <a:ext cx="13200" cy="151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5">
                  <p14:nvContentPartPr>
                    <p14:cNvPr id="716" name="Input penna 715">
                      <a:extLst>
                        <a:ext uri="{FF2B5EF4-FFF2-40B4-BE49-F238E27FC236}">
                          <a16:creationId xmlns:a16="http://schemas.microsoft.com/office/drawing/2014/main" id="{ED1373C1-E4D1-33F9-B183-52033555377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24738" y="3179109"/>
                    <a:ext cx="28800" cy="45000"/>
                  </p14:xfrm>
                </p:contentPart>
              </mc:Choice>
              <mc:Fallback xmlns="">
                <p:pic>
                  <p:nvPicPr>
                    <p:cNvPr id="716" name="Input penna 715">
                      <a:extLst>
                        <a:ext uri="{FF2B5EF4-FFF2-40B4-BE49-F238E27FC236}">
                          <a16:creationId xmlns:a16="http://schemas.microsoft.com/office/drawing/2014/main" id="{ED1373C1-E4D1-33F9-B183-52033555377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6"/>
                    <a:stretch>
                      <a:fillRect/>
                    </a:stretch>
                  </p:blipFill>
                  <p:spPr>
                    <a:xfrm>
                      <a:off x="4919801" y="3174109"/>
                      <a:ext cx="38674" cy="55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7">
                  <p14:nvContentPartPr>
                    <p14:cNvPr id="717" name="Input penna 716">
                      <a:extLst>
                        <a:ext uri="{FF2B5EF4-FFF2-40B4-BE49-F238E27FC236}">
                          <a16:creationId xmlns:a16="http://schemas.microsoft.com/office/drawing/2014/main" id="{5959F293-AD14-D973-DE8F-264D82229FC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04458" y="3155349"/>
                    <a:ext cx="15840" cy="29520"/>
                  </p14:xfrm>
                </p:contentPart>
              </mc:Choice>
              <mc:Fallback xmlns="">
                <p:pic>
                  <p:nvPicPr>
                    <p:cNvPr id="717" name="Input penna 716">
                      <a:extLst>
                        <a:ext uri="{FF2B5EF4-FFF2-40B4-BE49-F238E27FC236}">
                          <a16:creationId xmlns:a16="http://schemas.microsoft.com/office/drawing/2014/main" id="{5959F293-AD14-D973-DE8F-264D82229FC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8"/>
                    <a:stretch>
                      <a:fillRect/>
                    </a:stretch>
                  </p:blipFill>
                  <p:spPr>
                    <a:xfrm>
                      <a:off x="5199321" y="3150360"/>
                      <a:ext cx="26115" cy="3949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9">
                  <p14:nvContentPartPr>
                    <p14:cNvPr id="718" name="Input penna 717">
                      <a:extLst>
                        <a:ext uri="{FF2B5EF4-FFF2-40B4-BE49-F238E27FC236}">
                          <a16:creationId xmlns:a16="http://schemas.microsoft.com/office/drawing/2014/main" id="{1D0B7BDD-72D7-7307-DA69-E5187812AA7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51418" y="3122229"/>
                    <a:ext cx="36360" cy="68400"/>
                  </p14:xfrm>
                </p:contentPart>
              </mc:Choice>
              <mc:Fallback xmlns="">
                <p:pic>
                  <p:nvPicPr>
                    <p:cNvPr id="718" name="Input penna 717">
                      <a:extLst>
                        <a:ext uri="{FF2B5EF4-FFF2-40B4-BE49-F238E27FC236}">
                          <a16:creationId xmlns:a16="http://schemas.microsoft.com/office/drawing/2014/main" id="{1D0B7BDD-72D7-7307-DA69-E5187812AA7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0"/>
                    <a:stretch>
                      <a:fillRect/>
                    </a:stretch>
                  </p:blipFill>
                  <p:spPr>
                    <a:xfrm>
                      <a:off x="5446403" y="3117224"/>
                      <a:ext cx="46390" cy="7841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1">
                  <p14:nvContentPartPr>
                    <p14:cNvPr id="719" name="Input penna 718">
                      <a:extLst>
                        <a:ext uri="{FF2B5EF4-FFF2-40B4-BE49-F238E27FC236}">
                          <a16:creationId xmlns:a16="http://schemas.microsoft.com/office/drawing/2014/main" id="{0BFCF45B-00D6-20E9-E919-BF3D7550E95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56139" y="2659109"/>
                    <a:ext cx="43200" cy="503640"/>
                  </p14:xfrm>
                </p:contentPart>
              </mc:Choice>
              <mc:Fallback xmlns="">
                <p:pic>
                  <p:nvPicPr>
                    <p:cNvPr id="719" name="Input penna 718">
                      <a:extLst>
                        <a:ext uri="{FF2B5EF4-FFF2-40B4-BE49-F238E27FC236}">
                          <a16:creationId xmlns:a16="http://schemas.microsoft.com/office/drawing/2014/main" id="{0BFCF45B-00D6-20E9-E919-BF3D7550E95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2"/>
                    <a:stretch>
                      <a:fillRect/>
                    </a:stretch>
                  </p:blipFill>
                  <p:spPr>
                    <a:xfrm>
                      <a:off x="5751154" y="2654093"/>
                      <a:ext cx="53169" cy="51367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3">
                  <p14:nvContentPartPr>
                    <p14:cNvPr id="720" name="Input penna 719">
                      <a:extLst>
                        <a:ext uri="{FF2B5EF4-FFF2-40B4-BE49-F238E27FC236}">
                          <a16:creationId xmlns:a16="http://schemas.microsoft.com/office/drawing/2014/main" id="{1368B4B9-23A7-0182-433D-CC89C3BAEC8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59139" y="2556869"/>
                    <a:ext cx="46440" cy="559440"/>
                  </p14:xfrm>
                </p:contentPart>
              </mc:Choice>
              <mc:Fallback xmlns="">
                <p:pic>
                  <p:nvPicPr>
                    <p:cNvPr id="720" name="Input penna 719">
                      <a:extLst>
                        <a:ext uri="{FF2B5EF4-FFF2-40B4-BE49-F238E27FC236}">
                          <a16:creationId xmlns:a16="http://schemas.microsoft.com/office/drawing/2014/main" id="{1368B4B9-23A7-0182-433D-CC89C3BAEC8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4"/>
                    <a:stretch>
                      <a:fillRect/>
                    </a:stretch>
                  </p:blipFill>
                  <p:spPr>
                    <a:xfrm>
                      <a:off x="6354118" y="2551859"/>
                      <a:ext cx="56481" cy="5694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5">
                  <p14:nvContentPartPr>
                    <p14:cNvPr id="721" name="Input penna 720">
                      <a:extLst>
                        <a:ext uri="{FF2B5EF4-FFF2-40B4-BE49-F238E27FC236}">
                          <a16:creationId xmlns:a16="http://schemas.microsoft.com/office/drawing/2014/main" id="{B06D44E1-A060-0D3D-0984-496A6B04BFE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95579" y="2664869"/>
                    <a:ext cx="5400" cy="459000"/>
                  </p14:xfrm>
                </p:contentPart>
              </mc:Choice>
              <mc:Fallback xmlns="">
                <p:pic>
                  <p:nvPicPr>
                    <p:cNvPr id="721" name="Input penna 720">
                      <a:extLst>
                        <a:ext uri="{FF2B5EF4-FFF2-40B4-BE49-F238E27FC236}">
                          <a16:creationId xmlns:a16="http://schemas.microsoft.com/office/drawing/2014/main" id="{B06D44E1-A060-0D3D-0984-496A6B04BFE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6"/>
                    <a:stretch>
                      <a:fillRect/>
                    </a:stretch>
                  </p:blipFill>
                  <p:spPr>
                    <a:xfrm>
                      <a:off x="6490594" y="2659853"/>
                      <a:ext cx="15369" cy="4690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7">
                  <p14:nvContentPartPr>
                    <p14:cNvPr id="722" name="Input penna 721">
                      <a:extLst>
                        <a:ext uri="{FF2B5EF4-FFF2-40B4-BE49-F238E27FC236}">
                          <a16:creationId xmlns:a16="http://schemas.microsoft.com/office/drawing/2014/main" id="{0221D755-6F29-A2DB-0A44-46A46BDBD19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54099" y="3122069"/>
                    <a:ext cx="146520" cy="14400"/>
                  </p14:xfrm>
                </p:contentPart>
              </mc:Choice>
              <mc:Fallback xmlns="">
                <p:pic>
                  <p:nvPicPr>
                    <p:cNvPr id="722" name="Input penna 721">
                      <a:extLst>
                        <a:ext uri="{FF2B5EF4-FFF2-40B4-BE49-F238E27FC236}">
                          <a16:creationId xmlns:a16="http://schemas.microsoft.com/office/drawing/2014/main" id="{0221D755-6F29-A2DB-0A44-46A46BDBD19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8"/>
                    <a:stretch>
                      <a:fillRect/>
                    </a:stretch>
                  </p:blipFill>
                  <p:spPr>
                    <a:xfrm>
                      <a:off x="6349090" y="3117132"/>
                      <a:ext cx="156538" cy="242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9">
                  <p14:nvContentPartPr>
                    <p14:cNvPr id="723" name="Input penna 722">
                      <a:extLst>
                        <a:ext uri="{FF2B5EF4-FFF2-40B4-BE49-F238E27FC236}">
                          <a16:creationId xmlns:a16="http://schemas.microsoft.com/office/drawing/2014/main" id="{F9408038-2D4B-7E14-C8B9-0666ACA8181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90819" y="2547509"/>
                    <a:ext cx="262800" cy="110520"/>
                  </p14:xfrm>
                </p:contentPart>
              </mc:Choice>
              <mc:Fallback xmlns="">
                <p:pic>
                  <p:nvPicPr>
                    <p:cNvPr id="723" name="Input penna 722">
                      <a:extLst>
                        <a:ext uri="{FF2B5EF4-FFF2-40B4-BE49-F238E27FC236}">
                          <a16:creationId xmlns:a16="http://schemas.microsoft.com/office/drawing/2014/main" id="{F9408038-2D4B-7E14-C8B9-0666ACA8181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0"/>
                    <a:stretch>
                      <a:fillRect/>
                    </a:stretch>
                  </p:blipFill>
                  <p:spPr>
                    <a:xfrm>
                      <a:off x="6385805" y="2542504"/>
                      <a:ext cx="272827" cy="12052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1">
                  <p14:nvContentPartPr>
                    <p14:cNvPr id="724" name="Input penna 723">
                      <a:extLst>
                        <a:ext uri="{FF2B5EF4-FFF2-40B4-BE49-F238E27FC236}">
                          <a16:creationId xmlns:a16="http://schemas.microsoft.com/office/drawing/2014/main" id="{EC0E200A-C013-EEAE-F203-6ECFA9673AB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88179" y="2569109"/>
                    <a:ext cx="600840" cy="99000"/>
                  </p14:xfrm>
                </p:contentPart>
              </mc:Choice>
              <mc:Fallback xmlns="">
                <p:pic>
                  <p:nvPicPr>
                    <p:cNvPr id="724" name="Input penna 723">
                      <a:extLst>
                        <a:ext uri="{FF2B5EF4-FFF2-40B4-BE49-F238E27FC236}">
                          <a16:creationId xmlns:a16="http://schemas.microsoft.com/office/drawing/2014/main" id="{EC0E200A-C013-EEAE-F203-6ECFA9673AB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2"/>
                    <a:stretch>
                      <a:fillRect/>
                    </a:stretch>
                  </p:blipFill>
                  <p:spPr>
                    <a:xfrm>
                      <a:off x="5783169" y="2564096"/>
                      <a:ext cx="610861" cy="10902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3">
                  <p14:nvContentPartPr>
                    <p14:cNvPr id="725" name="Input penna 724">
                      <a:extLst>
                        <a:ext uri="{FF2B5EF4-FFF2-40B4-BE49-F238E27FC236}">
                          <a16:creationId xmlns:a16="http://schemas.microsoft.com/office/drawing/2014/main" id="{85A023DD-AB2B-1B8B-E399-C130B0860AF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18099" y="2694029"/>
                    <a:ext cx="3960" cy="203760"/>
                  </p14:xfrm>
                </p:contentPart>
              </mc:Choice>
              <mc:Fallback xmlns="">
                <p:pic>
                  <p:nvPicPr>
                    <p:cNvPr id="725" name="Input penna 724">
                      <a:extLst>
                        <a:ext uri="{FF2B5EF4-FFF2-40B4-BE49-F238E27FC236}">
                          <a16:creationId xmlns:a16="http://schemas.microsoft.com/office/drawing/2014/main" id="{85A023DD-AB2B-1B8B-E399-C130B0860AF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4"/>
                    <a:stretch>
                      <a:fillRect/>
                    </a:stretch>
                  </p:blipFill>
                  <p:spPr>
                    <a:xfrm>
                      <a:off x="5413347" y="2689019"/>
                      <a:ext cx="13464" cy="21378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5">
                  <p14:nvContentPartPr>
                    <p14:cNvPr id="726" name="Input penna 725">
                      <a:extLst>
                        <a:ext uri="{FF2B5EF4-FFF2-40B4-BE49-F238E27FC236}">
                          <a16:creationId xmlns:a16="http://schemas.microsoft.com/office/drawing/2014/main" id="{350C2F8C-1496-32FF-1FAF-E3C312DD5E1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19539" y="2655149"/>
                    <a:ext cx="36720" cy="37080"/>
                  </p14:xfrm>
                </p:contentPart>
              </mc:Choice>
              <mc:Fallback xmlns="">
                <p:pic>
                  <p:nvPicPr>
                    <p:cNvPr id="726" name="Input penna 725">
                      <a:extLst>
                        <a:ext uri="{FF2B5EF4-FFF2-40B4-BE49-F238E27FC236}">
                          <a16:creationId xmlns:a16="http://schemas.microsoft.com/office/drawing/2014/main" id="{350C2F8C-1496-32FF-1FAF-E3C312DD5E1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6"/>
                    <a:stretch>
                      <a:fillRect/>
                    </a:stretch>
                  </p:blipFill>
                  <p:spPr>
                    <a:xfrm>
                      <a:off x="5414532" y="2650149"/>
                      <a:ext cx="46735" cy="4707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7">
                  <p14:nvContentPartPr>
                    <p14:cNvPr id="727" name="Input penna 726">
                      <a:extLst>
                        <a:ext uri="{FF2B5EF4-FFF2-40B4-BE49-F238E27FC236}">
                          <a16:creationId xmlns:a16="http://schemas.microsoft.com/office/drawing/2014/main" id="{D3E926AE-B679-8A82-5D6C-DF8C633A1C2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45459" y="2655149"/>
                    <a:ext cx="153360" cy="36000"/>
                  </p14:xfrm>
                </p:contentPart>
              </mc:Choice>
              <mc:Fallback xmlns="">
                <p:pic>
                  <p:nvPicPr>
                    <p:cNvPr id="727" name="Input penna 726">
                      <a:extLst>
                        <a:ext uri="{FF2B5EF4-FFF2-40B4-BE49-F238E27FC236}">
                          <a16:creationId xmlns:a16="http://schemas.microsoft.com/office/drawing/2014/main" id="{D3E926AE-B679-8A82-5D6C-DF8C633A1C2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8"/>
                    <a:stretch>
                      <a:fillRect/>
                    </a:stretch>
                  </p:blipFill>
                  <p:spPr>
                    <a:xfrm>
                      <a:off x="5440445" y="2650126"/>
                      <a:ext cx="163389" cy="460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9">
                  <p14:nvContentPartPr>
                    <p14:cNvPr id="728" name="Input penna 727">
                      <a:extLst>
                        <a:ext uri="{FF2B5EF4-FFF2-40B4-BE49-F238E27FC236}">
                          <a16:creationId xmlns:a16="http://schemas.microsoft.com/office/drawing/2014/main" id="{C6B1E873-0286-6C81-A6A1-0761123273A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590179" y="2664149"/>
                    <a:ext cx="4320" cy="33120"/>
                  </p14:xfrm>
                </p:contentPart>
              </mc:Choice>
              <mc:Fallback xmlns="">
                <p:pic>
                  <p:nvPicPr>
                    <p:cNvPr id="728" name="Input penna 727">
                      <a:extLst>
                        <a:ext uri="{FF2B5EF4-FFF2-40B4-BE49-F238E27FC236}">
                          <a16:creationId xmlns:a16="http://schemas.microsoft.com/office/drawing/2014/main" id="{C6B1E873-0286-6C81-A6A1-0761123273A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0"/>
                    <a:stretch>
                      <a:fillRect/>
                    </a:stretch>
                  </p:blipFill>
                  <p:spPr>
                    <a:xfrm>
                      <a:off x="5585466" y="2659118"/>
                      <a:ext cx="13745" cy="4318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1">
                  <p14:nvContentPartPr>
                    <p14:cNvPr id="729" name="Input penna 728">
                      <a:extLst>
                        <a:ext uri="{FF2B5EF4-FFF2-40B4-BE49-F238E27FC236}">
                          <a16:creationId xmlns:a16="http://schemas.microsoft.com/office/drawing/2014/main" id="{BB5293AF-2A84-498D-5942-90AD6399CB5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99379" y="2629229"/>
                    <a:ext cx="42480" cy="48600"/>
                  </p14:xfrm>
                </p:contentPart>
              </mc:Choice>
              <mc:Fallback xmlns="">
                <p:pic>
                  <p:nvPicPr>
                    <p:cNvPr id="729" name="Input penna 728">
                      <a:extLst>
                        <a:ext uri="{FF2B5EF4-FFF2-40B4-BE49-F238E27FC236}">
                          <a16:creationId xmlns:a16="http://schemas.microsoft.com/office/drawing/2014/main" id="{BB5293AF-2A84-498D-5942-90AD6399CB5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2"/>
                    <a:stretch>
                      <a:fillRect/>
                    </a:stretch>
                  </p:blipFill>
                  <p:spPr>
                    <a:xfrm>
                      <a:off x="5394381" y="2624244"/>
                      <a:ext cx="52475" cy="585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3">
                  <p14:nvContentPartPr>
                    <p14:cNvPr id="730" name="Input penna 729">
                      <a:extLst>
                        <a:ext uri="{FF2B5EF4-FFF2-40B4-BE49-F238E27FC236}">
                          <a16:creationId xmlns:a16="http://schemas.microsoft.com/office/drawing/2014/main" id="{96B20F98-4DDF-65AF-5135-D87C8B7F689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99379" y="2670269"/>
                    <a:ext cx="5040" cy="214200"/>
                  </p14:xfrm>
                </p:contentPart>
              </mc:Choice>
              <mc:Fallback xmlns="">
                <p:pic>
                  <p:nvPicPr>
                    <p:cNvPr id="730" name="Input penna 729">
                      <a:extLst>
                        <a:ext uri="{FF2B5EF4-FFF2-40B4-BE49-F238E27FC236}">
                          <a16:creationId xmlns:a16="http://schemas.microsoft.com/office/drawing/2014/main" id="{96B20F98-4DDF-65AF-5135-D87C8B7F689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4"/>
                    <a:stretch>
                      <a:fillRect/>
                    </a:stretch>
                  </p:blipFill>
                  <p:spPr>
                    <a:xfrm>
                      <a:off x="5394339" y="2665258"/>
                      <a:ext cx="15120" cy="2242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5">
                  <p14:nvContentPartPr>
                    <p14:cNvPr id="731" name="Input penna 730">
                      <a:extLst>
                        <a:ext uri="{FF2B5EF4-FFF2-40B4-BE49-F238E27FC236}">
                          <a16:creationId xmlns:a16="http://schemas.microsoft.com/office/drawing/2014/main" id="{D36C4197-FF06-D8EE-A499-E4DA3D44CA1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32139" y="2636429"/>
                    <a:ext cx="155160" cy="45000"/>
                  </p14:xfrm>
                </p:contentPart>
              </mc:Choice>
              <mc:Fallback xmlns="">
                <p:pic>
                  <p:nvPicPr>
                    <p:cNvPr id="731" name="Input penna 730">
                      <a:extLst>
                        <a:ext uri="{FF2B5EF4-FFF2-40B4-BE49-F238E27FC236}">
                          <a16:creationId xmlns:a16="http://schemas.microsoft.com/office/drawing/2014/main" id="{D36C4197-FF06-D8EE-A499-E4DA3D44CA1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6"/>
                    <a:stretch>
                      <a:fillRect/>
                    </a:stretch>
                  </p:blipFill>
                  <p:spPr>
                    <a:xfrm>
                      <a:off x="5427134" y="2631429"/>
                      <a:ext cx="165170" cy="55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7">
                  <p14:nvContentPartPr>
                    <p14:cNvPr id="732" name="Input penna 731">
                      <a:extLst>
                        <a:ext uri="{FF2B5EF4-FFF2-40B4-BE49-F238E27FC236}">
                          <a16:creationId xmlns:a16="http://schemas.microsoft.com/office/drawing/2014/main" id="{CFF6AE47-8ED5-047A-6198-59ACCCED623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61899" y="2774669"/>
                    <a:ext cx="11160" cy="154800"/>
                  </p14:xfrm>
                </p:contentPart>
              </mc:Choice>
              <mc:Fallback xmlns="">
                <p:pic>
                  <p:nvPicPr>
                    <p:cNvPr id="732" name="Input penna 731">
                      <a:extLst>
                        <a:ext uri="{FF2B5EF4-FFF2-40B4-BE49-F238E27FC236}">
                          <a16:creationId xmlns:a16="http://schemas.microsoft.com/office/drawing/2014/main" id="{CFF6AE47-8ED5-047A-6198-59ACCCED623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8"/>
                    <a:stretch>
                      <a:fillRect/>
                    </a:stretch>
                  </p:blipFill>
                  <p:spPr>
                    <a:xfrm>
                      <a:off x="4856939" y="2769662"/>
                      <a:ext cx="21080" cy="16481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9">
                  <p14:nvContentPartPr>
                    <p14:cNvPr id="733" name="Input penna 732">
                      <a:extLst>
                        <a:ext uri="{FF2B5EF4-FFF2-40B4-BE49-F238E27FC236}">
                          <a16:creationId xmlns:a16="http://schemas.microsoft.com/office/drawing/2014/main" id="{13766B7C-86F1-0FB3-2E11-E13D5023CC6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62259" y="2727869"/>
                    <a:ext cx="32760" cy="45360"/>
                  </p14:xfrm>
                </p:contentPart>
              </mc:Choice>
              <mc:Fallback xmlns="">
                <p:pic>
                  <p:nvPicPr>
                    <p:cNvPr id="733" name="Input penna 732">
                      <a:extLst>
                        <a:ext uri="{FF2B5EF4-FFF2-40B4-BE49-F238E27FC236}">
                          <a16:creationId xmlns:a16="http://schemas.microsoft.com/office/drawing/2014/main" id="{13766B7C-86F1-0FB3-2E11-E13D5023CC6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0"/>
                    <a:stretch>
                      <a:fillRect/>
                    </a:stretch>
                  </p:blipFill>
                  <p:spPr>
                    <a:xfrm>
                      <a:off x="4857283" y="2722921"/>
                      <a:ext cx="42712" cy="5525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1">
                  <p14:nvContentPartPr>
                    <p14:cNvPr id="734" name="Input penna 733">
                      <a:extLst>
                        <a:ext uri="{FF2B5EF4-FFF2-40B4-BE49-F238E27FC236}">
                          <a16:creationId xmlns:a16="http://schemas.microsoft.com/office/drawing/2014/main" id="{12D2E73B-9E87-B1FA-1E8B-3D8BC7D9D84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89259" y="2643989"/>
                    <a:ext cx="545760" cy="80280"/>
                  </p14:xfrm>
                </p:contentPart>
              </mc:Choice>
              <mc:Fallback xmlns="">
                <p:pic>
                  <p:nvPicPr>
                    <p:cNvPr id="734" name="Input penna 733">
                      <a:extLst>
                        <a:ext uri="{FF2B5EF4-FFF2-40B4-BE49-F238E27FC236}">
                          <a16:creationId xmlns:a16="http://schemas.microsoft.com/office/drawing/2014/main" id="{12D2E73B-9E87-B1FA-1E8B-3D8BC7D9D84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2"/>
                    <a:stretch>
                      <a:fillRect/>
                    </a:stretch>
                  </p:blipFill>
                  <p:spPr>
                    <a:xfrm>
                      <a:off x="4884248" y="2638971"/>
                      <a:ext cx="555782" cy="903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3">
                  <p14:nvContentPartPr>
                    <p14:cNvPr id="735" name="Input penna 734">
                      <a:extLst>
                        <a:ext uri="{FF2B5EF4-FFF2-40B4-BE49-F238E27FC236}">
                          <a16:creationId xmlns:a16="http://schemas.microsoft.com/office/drawing/2014/main" id="{A6377062-881E-1BB4-1217-32FE6FCE2AB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65499" y="2676389"/>
                    <a:ext cx="529920" cy="85320"/>
                  </p14:xfrm>
                </p:contentPart>
              </mc:Choice>
              <mc:Fallback xmlns="">
                <p:pic>
                  <p:nvPicPr>
                    <p:cNvPr id="735" name="Input penna 734">
                      <a:extLst>
                        <a:ext uri="{FF2B5EF4-FFF2-40B4-BE49-F238E27FC236}">
                          <a16:creationId xmlns:a16="http://schemas.microsoft.com/office/drawing/2014/main" id="{A6377062-881E-1BB4-1217-32FE6FCE2AB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4"/>
                    <a:stretch>
                      <a:fillRect/>
                    </a:stretch>
                  </p:blipFill>
                  <p:spPr>
                    <a:xfrm>
                      <a:off x="4860488" y="2671370"/>
                      <a:ext cx="539942" cy="9535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5">
                  <p14:nvContentPartPr>
                    <p14:cNvPr id="736" name="Input penna 735">
                      <a:extLst>
                        <a:ext uri="{FF2B5EF4-FFF2-40B4-BE49-F238E27FC236}">
                          <a16:creationId xmlns:a16="http://schemas.microsoft.com/office/drawing/2014/main" id="{1836E403-6D03-D614-EB7F-49203B2B895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67630" y="2421276"/>
                    <a:ext cx="20520" cy="446760"/>
                  </p14:xfrm>
                </p:contentPart>
              </mc:Choice>
              <mc:Fallback xmlns="">
                <p:pic>
                  <p:nvPicPr>
                    <p:cNvPr id="736" name="Input penna 735">
                      <a:extLst>
                        <a:ext uri="{FF2B5EF4-FFF2-40B4-BE49-F238E27FC236}">
                          <a16:creationId xmlns:a16="http://schemas.microsoft.com/office/drawing/2014/main" id="{1836E403-6D03-D614-EB7F-49203B2B895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6"/>
                    <a:stretch>
                      <a:fillRect/>
                    </a:stretch>
                  </p:blipFill>
                  <p:spPr>
                    <a:xfrm>
                      <a:off x="5662500" y="2416266"/>
                      <a:ext cx="30780" cy="45678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7">
                  <p14:nvContentPartPr>
                    <p14:cNvPr id="737" name="Input penna 736">
                      <a:extLst>
                        <a:ext uri="{FF2B5EF4-FFF2-40B4-BE49-F238E27FC236}">
                          <a16:creationId xmlns:a16="http://schemas.microsoft.com/office/drawing/2014/main" id="{2605B7D3-E448-8AA2-6B67-43B2A9D9FF7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72670" y="2347836"/>
                    <a:ext cx="247680" cy="80280"/>
                  </p14:xfrm>
                </p:contentPart>
              </mc:Choice>
              <mc:Fallback xmlns="">
                <p:pic>
                  <p:nvPicPr>
                    <p:cNvPr id="737" name="Input penna 736">
                      <a:extLst>
                        <a:ext uri="{FF2B5EF4-FFF2-40B4-BE49-F238E27FC236}">
                          <a16:creationId xmlns:a16="http://schemas.microsoft.com/office/drawing/2014/main" id="{2605B7D3-E448-8AA2-6B67-43B2A9D9FF7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8"/>
                    <a:stretch>
                      <a:fillRect/>
                    </a:stretch>
                  </p:blipFill>
                  <p:spPr>
                    <a:xfrm>
                      <a:off x="5667658" y="2342818"/>
                      <a:ext cx="257704" cy="903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9">
                  <p14:nvContentPartPr>
                    <p14:cNvPr id="738" name="Input penna 737">
                      <a:extLst>
                        <a:ext uri="{FF2B5EF4-FFF2-40B4-BE49-F238E27FC236}">
                          <a16:creationId xmlns:a16="http://schemas.microsoft.com/office/drawing/2014/main" id="{C97033D2-10A7-D7D7-D74E-1015A94EAA2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26470" y="2345316"/>
                    <a:ext cx="405000" cy="96120"/>
                  </p14:xfrm>
                </p:contentPart>
              </mc:Choice>
              <mc:Fallback xmlns="">
                <p:pic>
                  <p:nvPicPr>
                    <p:cNvPr id="738" name="Input penna 737">
                      <a:extLst>
                        <a:ext uri="{FF2B5EF4-FFF2-40B4-BE49-F238E27FC236}">
                          <a16:creationId xmlns:a16="http://schemas.microsoft.com/office/drawing/2014/main" id="{C97033D2-10A7-D7D7-D74E-1015A94EAA2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0"/>
                    <a:stretch>
                      <a:fillRect/>
                    </a:stretch>
                  </p:blipFill>
                  <p:spPr>
                    <a:xfrm>
                      <a:off x="5921465" y="2340301"/>
                      <a:ext cx="415010" cy="1061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1">
                  <p14:nvContentPartPr>
                    <p14:cNvPr id="739" name="Input penna 738">
                      <a:extLst>
                        <a:ext uri="{FF2B5EF4-FFF2-40B4-BE49-F238E27FC236}">
                          <a16:creationId xmlns:a16="http://schemas.microsoft.com/office/drawing/2014/main" id="{C75D7618-BDE7-A8D1-8676-83FE4FC90A4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24310" y="2345316"/>
                    <a:ext cx="20880" cy="297000"/>
                  </p14:xfrm>
                </p:contentPart>
              </mc:Choice>
              <mc:Fallback xmlns="">
                <p:pic>
                  <p:nvPicPr>
                    <p:cNvPr id="739" name="Input penna 738">
                      <a:extLst>
                        <a:ext uri="{FF2B5EF4-FFF2-40B4-BE49-F238E27FC236}">
                          <a16:creationId xmlns:a16="http://schemas.microsoft.com/office/drawing/2014/main" id="{C75D7618-BDE7-A8D1-8676-83FE4FC90A4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2"/>
                    <a:stretch>
                      <a:fillRect/>
                    </a:stretch>
                  </p:blipFill>
                  <p:spPr>
                    <a:xfrm>
                      <a:off x="5919197" y="2340303"/>
                      <a:ext cx="31107" cy="30702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3">
                  <p14:nvContentPartPr>
                    <p14:cNvPr id="740" name="Input penna 739">
                      <a:extLst>
                        <a:ext uri="{FF2B5EF4-FFF2-40B4-BE49-F238E27FC236}">
                          <a16:creationId xmlns:a16="http://schemas.microsoft.com/office/drawing/2014/main" id="{2917E50A-11AE-59D7-B00F-DE1C289D14C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67510" y="2393916"/>
                    <a:ext cx="20160" cy="32400"/>
                  </p14:xfrm>
                </p:contentPart>
              </mc:Choice>
              <mc:Fallback xmlns="">
                <p:pic>
                  <p:nvPicPr>
                    <p:cNvPr id="740" name="Input penna 739">
                      <a:extLst>
                        <a:ext uri="{FF2B5EF4-FFF2-40B4-BE49-F238E27FC236}">
                          <a16:creationId xmlns:a16="http://schemas.microsoft.com/office/drawing/2014/main" id="{2917E50A-11AE-59D7-B00F-DE1C289D14C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4"/>
                    <a:stretch>
                      <a:fillRect/>
                    </a:stretch>
                  </p:blipFill>
                  <p:spPr>
                    <a:xfrm>
                      <a:off x="5962470" y="2388994"/>
                      <a:ext cx="30240" cy="4224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5">
                  <p14:nvContentPartPr>
                    <p14:cNvPr id="741" name="Input penna 740">
                      <a:extLst>
                        <a:ext uri="{FF2B5EF4-FFF2-40B4-BE49-F238E27FC236}">
                          <a16:creationId xmlns:a16="http://schemas.microsoft.com/office/drawing/2014/main" id="{3A93C7FD-93DF-8778-378E-9586B80E273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49670" y="2435316"/>
                    <a:ext cx="20520" cy="27360"/>
                  </p14:xfrm>
                </p:contentPart>
              </mc:Choice>
              <mc:Fallback xmlns="">
                <p:pic>
                  <p:nvPicPr>
                    <p:cNvPr id="741" name="Input penna 740">
                      <a:extLst>
                        <a:ext uri="{FF2B5EF4-FFF2-40B4-BE49-F238E27FC236}">
                          <a16:creationId xmlns:a16="http://schemas.microsoft.com/office/drawing/2014/main" id="{3A93C7FD-93DF-8778-378E-9586B80E273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6"/>
                    <a:stretch>
                      <a:fillRect/>
                    </a:stretch>
                  </p:blipFill>
                  <p:spPr>
                    <a:xfrm>
                      <a:off x="6144645" y="2430416"/>
                      <a:ext cx="30571" cy="3716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7">
                  <p14:nvContentPartPr>
                    <p14:cNvPr id="742" name="Input penna 741">
                      <a:extLst>
                        <a:ext uri="{FF2B5EF4-FFF2-40B4-BE49-F238E27FC236}">
                          <a16:creationId xmlns:a16="http://schemas.microsoft.com/office/drawing/2014/main" id="{4E29443F-CBF9-4A8A-8110-D012735FBCA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42094" y="2821794"/>
                    <a:ext cx="162000" cy="41040"/>
                  </p14:xfrm>
                </p:contentPart>
              </mc:Choice>
              <mc:Fallback xmlns="">
                <p:pic>
                  <p:nvPicPr>
                    <p:cNvPr id="742" name="Input penna 741">
                      <a:extLst>
                        <a:ext uri="{FF2B5EF4-FFF2-40B4-BE49-F238E27FC236}">
                          <a16:creationId xmlns:a16="http://schemas.microsoft.com/office/drawing/2014/main" id="{4E29443F-CBF9-4A8A-8110-D012735FBCA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8"/>
                    <a:stretch>
                      <a:fillRect/>
                    </a:stretch>
                  </p:blipFill>
                  <p:spPr>
                    <a:xfrm>
                      <a:off x="5437097" y="2816769"/>
                      <a:ext cx="171995" cy="510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9">
                  <p14:nvContentPartPr>
                    <p14:cNvPr id="743" name="Input penna 742">
                      <a:extLst>
                        <a:ext uri="{FF2B5EF4-FFF2-40B4-BE49-F238E27FC236}">
                          <a16:creationId xmlns:a16="http://schemas.microsoft.com/office/drawing/2014/main" id="{80D61373-56E9-B8BD-EC93-392549F3262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31294" y="2808834"/>
                    <a:ext cx="165600" cy="45000"/>
                  </p14:xfrm>
                </p:contentPart>
              </mc:Choice>
              <mc:Fallback xmlns="">
                <p:pic>
                  <p:nvPicPr>
                    <p:cNvPr id="743" name="Input penna 742">
                      <a:extLst>
                        <a:ext uri="{FF2B5EF4-FFF2-40B4-BE49-F238E27FC236}">
                          <a16:creationId xmlns:a16="http://schemas.microsoft.com/office/drawing/2014/main" id="{80D61373-56E9-B8BD-EC93-392549F3262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0"/>
                    <a:stretch>
                      <a:fillRect/>
                    </a:stretch>
                  </p:blipFill>
                  <p:spPr>
                    <a:xfrm>
                      <a:off x="5426288" y="2803834"/>
                      <a:ext cx="175611" cy="55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1">
                  <p14:nvContentPartPr>
                    <p14:cNvPr id="744" name="Input penna 743">
                      <a:extLst>
                        <a:ext uri="{FF2B5EF4-FFF2-40B4-BE49-F238E27FC236}">
                          <a16:creationId xmlns:a16="http://schemas.microsoft.com/office/drawing/2014/main" id="{DC959B4E-82C2-0F0A-358F-220D5F5BE19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28054" y="2813154"/>
                    <a:ext cx="73080" cy="3240"/>
                  </p14:xfrm>
                </p:contentPart>
              </mc:Choice>
              <mc:Fallback xmlns="">
                <p:pic>
                  <p:nvPicPr>
                    <p:cNvPr id="744" name="Input penna 743">
                      <a:extLst>
                        <a:ext uri="{FF2B5EF4-FFF2-40B4-BE49-F238E27FC236}">
                          <a16:creationId xmlns:a16="http://schemas.microsoft.com/office/drawing/2014/main" id="{DC959B4E-82C2-0F0A-358F-220D5F5BE19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2"/>
                    <a:stretch>
                      <a:fillRect/>
                    </a:stretch>
                  </p:blipFill>
                  <p:spPr>
                    <a:xfrm>
                      <a:off x="5423043" y="2808294"/>
                      <a:ext cx="83102" cy="129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3">
                  <p14:nvContentPartPr>
                    <p14:cNvPr id="745" name="Input penna 744">
                      <a:extLst>
                        <a:ext uri="{FF2B5EF4-FFF2-40B4-BE49-F238E27FC236}">
                          <a16:creationId xmlns:a16="http://schemas.microsoft.com/office/drawing/2014/main" id="{A7D786F7-5A63-C5CB-9712-924E50555C7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36334" y="2755554"/>
                    <a:ext cx="153720" cy="25920"/>
                  </p14:xfrm>
                </p:contentPart>
              </mc:Choice>
              <mc:Fallback xmlns="">
                <p:pic>
                  <p:nvPicPr>
                    <p:cNvPr id="745" name="Input penna 744">
                      <a:extLst>
                        <a:ext uri="{FF2B5EF4-FFF2-40B4-BE49-F238E27FC236}">
                          <a16:creationId xmlns:a16="http://schemas.microsoft.com/office/drawing/2014/main" id="{A7D786F7-5A63-C5CB-9712-924E50555C7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4"/>
                    <a:stretch>
                      <a:fillRect/>
                    </a:stretch>
                  </p:blipFill>
                  <p:spPr>
                    <a:xfrm>
                      <a:off x="5431321" y="2750617"/>
                      <a:ext cx="163745" cy="3579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5">
                  <p14:nvContentPartPr>
                    <p14:cNvPr id="746" name="Input penna 745">
                      <a:extLst>
                        <a:ext uri="{FF2B5EF4-FFF2-40B4-BE49-F238E27FC236}">
                          <a16:creationId xmlns:a16="http://schemas.microsoft.com/office/drawing/2014/main" id="{58F402D5-23A2-C189-72E6-A09F3D2A731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21014" y="2753754"/>
                    <a:ext cx="30960" cy="25200"/>
                  </p14:xfrm>
                </p:contentPart>
              </mc:Choice>
              <mc:Fallback xmlns="">
                <p:pic>
                  <p:nvPicPr>
                    <p:cNvPr id="746" name="Input penna 745">
                      <a:extLst>
                        <a:ext uri="{FF2B5EF4-FFF2-40B4-BE49-F238E27FC236}">
                          <a16:creationId xmlns:a16="http://schemas.microsoft.com/office/drawing/2014/main" id="{58F402D5-23A2-C189-72E6-A09F3D2A731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6"/>
                    <a:stretch>
                      <a:fillRect/>
                    </a:stretch>
                  </p:blipFill>
                  <p:spPr>
                    <a:xfrm>
                      <a:off x="5615993" y="2748714"/>
                      <a:ext cx="41001" cy="352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7">
                  <p14:nvContentPartPr>
                    <p14:cNvPr id="747" name="Input penna 746">
                      <a:extLst>
                        <a:ext uri="{FF2B5EF4-FFF2-40B4-BE49-F238E27FC236}">
                          <a16:creationId xmlns:a16="http://schemas.microsoft.com/office/drawing/2014/main" id="{6E1E0F05-B162-41A2-DC3B-97BD0D771D0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08054" y="2739354"/>
                    <a:ext cx="64800" cy="51840"/>
                  </p14:xfrm>
                </p:contentPart>
              </mc:Choice>
              <mc:Fallback xmlns="">
                <p:pic>
                  <p:nvPicPr>
                    <p:cNvPr id="747" name="Input penna 746">
                      <a:extLst>
                        <a:ext uri="{FF2B5EF4-FFF2-40B4-BE49-F238E27FC236}">
                          <a16:creationId xmlns:a16="http://schemas.microsoft.com/office/drawing/2014/main" id="{6E1E0F05-B162-41A2-DC3B-97BD0D771D0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8"/>
                    <a:stretch>
                      <a:fillRect/>
                    </a:stretch>
                  </p:blipFill>
                  <p:spPr>
                    <a:xfrm>
                      <a:off x="5603037" y="2734377"/>
                      <a:ext cx="74834" cy="6179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9">
                  <p14:nvContentPartPr>
                    <p14:cNvPr id="748" name="Input penna 747">
                      <a:extLst>
                        <a:ext uri="{FF2B5EF4-FFF2-40B4-BE49-F238E27FC236}">
                          <a16:creationId xmlns:a16="http://schemas.microsoft.com/office/drawing/2014/main" id="{FE3B05B6-E1F0-068F-2EE6-92A4B05CC0B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07694" y="2795874"/>
                    <a:ext cx="47880" cy="8280"/>
                  </p14:xfrm>
                </p:contentPart>
              </mc:Choice>
              <mc:Fallback xmlns="">
                <p:pic>
                  <p:nvPicPr>
                    <p:cNvPr id="748" name="Input penna 747">
                      <a:extLst>
                        <a:ext uri="{FF2B5EF4-FFF2-40B4-BE49-F238E27FC236}">
                          <a16:creationId xmlns:a16="http://schemas.microsoft.com/office/drawing/2014/main" id="{FE3B05B6-E1F0-068F-2EE6-92A4B05CC0B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0"/>
                    <a:stretch>
                      <a:fillRect/>
                    </a:stretch>
                  </p:blipFill>
                  <p:spPr>
                    <a:xfrm>
                      <a:off x="5602698" y="2790906"/>
                      <a:ext cx="57872" cy="182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1">
                  <p14:nvContentPartPr>
                    <p14:cNvPr id="749" name="Input penna 748">
                      <a:extLst>
                        <a:ext uri="{FF2B5EF4-FFF2-40B4-BE49-F238E27FC236}">
                          <a16:creationId xmlns:a16="http://schemas.microsoft.com/office/drawing/2014/main" id="{073AF661-7FA9-2D0E-5809-B74A5668ADC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09854" y="2798034"/>
                    <a:ext cx="1440" cy="37800"/>
                  </p14:xfrm>
                </p:contentPart>
              </mc:Choice>
              <mc:Fallback xmlns="">
                <p:pic>
                  <p:nvPicPr>
                    <p:cNvPr id="749" name="Input penna 748">
                      <a:extLst>
                        <a:ext uri="{FF2B5EF4-FFF2-40B4-BE49-F238E27FC236}">
                          <a16:creationId xmlns:a16="http://schemas.microsoft.com/office/drawing/2014/main" id="{073AF661-7FA9-2D0E-5809-B74A5668ADC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2"/>
                    <a:stretch>
                      <a:fillRect/>
                    </a:stretch>
                  </p:blipFill>
                  <p:spPr>
                    <a:xfrm>
                      <a:off x="5605534" y="2793049"/>
                      <a:ext cx="10080" cy="477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3">
                  <p14:nvContentPartPr>
                    <p14:cNvPr id="750" name="Input penna 749">
                      <a:extLst>
                        <a:ext uri="{FF2B5EF4-FFF2-40B4-BE49-F238E27FC236}">
                          <a16:creationId xmlns:a16="http://schemas.microsoft.com/office/drawing/2014/main" id="{A112CD0A-1A3D-91E2-1FF5-A3BFFB1BDCE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52334" y="2803794"/>
                    <a:ext cx="1800" cy="28080"/>
                  </p14:xfrm>
                </p:contentPart>
              </mc:Choice>
              <mc:Fallback xmlns="">
                <p:pic>
                  <p:nvPicPr>
                    <p:cNvPr id="750" name="Input penna 749">
                      <a:extLst>
                        <a:ext uri="{FF2B5EF4-FFF2-40B4-BE49-F238E27FC236}">
                          <a16:creationId xmlns:a16="http://schemas.microsoft.com/office/drawing/2014/main" id="{A112CD0A-1A3D-91E2-1FF5-A3BFFB1BDCE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4"/>
                    <a:stretch>
                      <a:fillRect/>
                    </a:stretch>
                  </p:blipFill>
                  <p:spPr>
                    <a:xfrm>
                      <a:off x="5646934" y="2798765"/>
                      <a:ext cx="12600" cy="381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5">
                  <p14:nvContentPartPr>
                    <p14:cNvPr id="751" name="Input penna 750">
                      <a:extLst>
                        <a:ext uri="{FF2B5EF4-FFF2-40B4-BE49-F238E27FC236}">
                          <a16:creationId xmlns:a16="http://schemas.microsoft.com/office/drawing/2014/main" id="{C8D1611B-3A47-8107-F88C-A851AEF747A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29494" y="2728914"/>
                    <a:ext cx="167040" cy="34920"/>
                  </p14:xfrm>
                </p:contentPart>
              </mc:Choice>
              <mc:Fallback xmlns="">
                <p:pic>
                  <p:nvPicPr>
                    <p:cNvPr id="751" name="Input penna 750">
                      <a:extLst>
                        <a:ext uri="{FF2B5EF4-FFF2-40B4-BE49-F238E27FC236}">
                          <a16:creationId xmlns:a16="http://schemas.microsoft.com/office/drawing/2014/main" id="{C8D1611B-3A47-8107-F88C-A851AEF747A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6"/>
                    <a:stretch>
                      <a:fillRect/>
                    </a:stretch>
                  </p:blipFill>
                  <p:spPr>
                    <a:xfrm>
                      <a:off x="5424483" y="2723925"/>
                      <a:ext cx="177062" cy="4489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7">
                  <p14:nvContentPartPr>
                    <p14:cNvPr id="752" name="Input penna 751">
                      <a:extLst>
                        <a:ext uri="{FF2B5EF4-FFF2-40B4-BE49-F238E27FC236}">
                          <a16:creationId xmlns:a16="http://schemas.microsoft.com/office/drawing/2014/main" id="{E93F6CC7-2612-CE59-6CDF-46C3FFF033D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39017" y="4398447"/>
                    <a:ext cx="4320" cy="120960"/>
                  </p14:xfrm>
                </p:contentPart>
              </mc:Choice>
              <mc:Fallback xmlns="">
                <p:pic>
                  <p:nvPicPr>
                    <p:cNvPr id="752" name="Input penna 751">
                      <a:extLst>
                        <a:ext uri="{FF2B5EF4-FFF2-40B4-BE49-F238E27FC236}">
                          <a16:creationId xmlns:a16="http://schemas.microsoft.com/office/drawing/2014/main" id="{E93F6CC7-2612-CE59-6CDF-46C3FFF033D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8"/>
                    <a:stretch>
                      <a:fillRect/>
                    </a:stretch>
                  </p:blipFill>
                  <p:spPr>
                    <a:xfrm>
                      <a:off x="5834304" y="4393442"/>
                      <a:ext cx="13745" cy="13097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9">
                  <p14:nvContentPartPr>
                    <p14:cNvPr id="753" name="Input penna 752">
                      <a:extLst>
                        <a:ext uri="{FF2B5EF4-FFF2-40B4-BE49-F238E27FC236}">
                          <a16:creationId xmlns:a16="http://schemas.microsoft.com/office/drawing/2014/main" id="{E63BBDE7-F880-4BC3-E2B8-D6C51F287B3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76737" y="4160847"/>
                    <a:ext cx="50400" cy="235800"/>
                  </p14:xfrm>
                </p:contentPart>
              </mc:Choice>
              <mc:Fallback xmlns="">
                <p:pic>
                  <p:nvPicPr>
                    <p:cNvPr id="753" name="Input penna 752">
                      <a:extLst>
                        <a:ext uri="{FF2B5EF4-FFF2-40B4-BE49-F238E27FC236}">
                          <a16:creationId xmlns:a16="http://schemas.microsoft.com/office/drawing/2014/main" id="{E63BBDE7-F880-4BC3-E2B8-D6C51F287B3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0"/>
                    <a:stretch>
                      <a:fillRect/>
                    </a:stretch>
                  </p:blipFill>
                  <p:spPr>
                    <a:xfrm>
                      <a:off x="5771739" y="4155839"/>
                      <a:ext cx="60397" cy="2458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1">
                  <p14:nvContentPartPr>
                    <p14:cNvPr id="754" name="Input penna 753">
                      <a:extLst>
                        <a:ext uri="{FF2B5EF4-FFF2-40B4-BE49-F238E27FC236}">
                          <a16:creationId xmlns:a16="http://schemas.microsoft.com/office/drawing/2014/main" id="{D4E52B51-E03A-642E-7939-E244002A8D9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24617" y="4397007"/>
                    <a:ext cx="604440" cy="75960"/>
                  </p14:xfrm>
                </p:contentPart>
              </mc:Choice>
              <mc:Fallback xmlns="">
                <p:pic>
                  <p:nvPicPr>
                    <p:cNvPr id="754" name="Input penna 753">
                      <a:extLst>
                        <a:ext uri="{FF2B5EF4-FFF2-40B4-BE49-F238E27FC236}">
                          <a16:creationId xmlns:a16="http://schemas.microsoft.com/office/drawing/2014/main" id="{D4E52B51-E03A-642E-7939-E244002A8D9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2"/>
                    <a:stretch>
                      <a:fillRect/>
                    </a:stretch>
                  </p:blipFill>
                  <p:spPr>
                    <a:xfrm>
                      <a:off x="5819608" y="4391999"/>
                      <a:ext cx="614458" cy="8597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3">
                  <p14:nvContentPartPr>
                    <p14:cNvPr id="755" name="Input penna 754">
                      <a:extLst>
                        <a:ext uri="{FF2B5EF4-FFF2-40B4-BE49-F238E27FC236}">
                          <a16:creationId xmlns:a16="http://schemas.microsoft.com/office/drawing/2014/main" id="{89564156-9061-E937-29A3-6A1D74420B4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77217" y="4213767"/>
                    <a:ext cx="59760" cy="248040"/>
                  </p14:xfrm>
                </p:contentPart>
              </mc:Choice>
              <mc:Fallback xmlns="">
                <p:pic>
                  <p:nvPicPr>
                    <p:cNvPr id="755" name="Input penna 754">
                      <a:extLst>
                        <a:ext uri="{FF2B5EF4-FFF2-40B4-BE49-F238E27FC236}">
                          <a16:creationId xmlns:a16="http://schemas.microsoft.com/office/drawing/2014/main" id="{89564156-9061-E937-29A3-6A1D74420B4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4"/>
                    <a:stretch>
                      <a:fillRect/>
                    </a:stretch>
                  </p:blipFill>
                  <p:spPr>
                    <a:xfrm>
                      <a:off x="6372202" y="4208756"/>
                      <a:ext cx="69790" cy="2580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5">
                  <p14:nvContentPartPr>
                    <p14:cNvPr id="756" name="Input penna 755">
                      <a:extLst>
                        <a:ext uri="{FF2B5EF4-FFF2-40B4-BE49-F238E27FC236}">
                          <a16:creationId xmlns:a16="http://schemas.microsoft.com/office/drawing/2014/main" id="{314370B6-5DB8-D5A2-ACE1-9C0EB5B8292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69657" y="4179207"/>
                    <a:ext cx="164160" cy="37440"/>
                  </p14:xfrm>
                </p:contentPart>
              </mc:Choice>
              <mc:Fallback xmlns="">
                <p:pic>
                  <p:nvPicPr>
                    <p:cNvPr id="756" name="Input penna 755">
                      <a:extLst>
                        <a:ext uri="{FF2B5EF4-FFF2-40B4-BE49-F238E27FC236}">
                          <a16:creationId xmlns:a16="http://schemas.microsoft.com/office/drawing/2014/main" id="{314370B6-5DB8-D5A2-ACE1-9C0EB5B8292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6"/>
                    <a:stretch>
                      <a:fillRect/>
                    </a:stretch>
                  </p:blipFill>
                  <p:spPr>
                    <a:xfrm>
                      <a:off x="6364657" y="4174215"/>
                      <a:ext cx="174160" cy="4742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7">
                  <p14:nvContentPartPr>
                    <p14:cNvPr id="757" name="Input penna 756">
                      <a:extLst>
                        <a:ext uri="{FF2B5EF4-FFF2-40B4-BE49-F238E27FC236}">
                          <a16:creationId xmlns:a16="http://schemas.microsoft.com/office/drawing/2014/main" id="{0BB47C82-C498-82B9-2FA2-228893DEF65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23737" y="4177047"/>
                    <a:ext cx="8640" cy="198360"/>
                  </p14:xfrm>
                </p:contentPart>
              </mc:Choice>
              <mc:Fallback xmlns="">
                <p:pic>
                  <p:nvPicPr>
                    <p:cNvPr id="757" name="Input penna 756">
                      <a:extLst>
                        <a:ext uri="{FF2B5EF4-FFF2-40B4-BE49-F238E27FC236}">
                          <a16:creationId xmlns:a16="http://schemas.microsoft.com/office/drawing/2014/main" id="{0BB47C82-C498-82B9-2FA2-228893DEF65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8"/>
                    <a:stretch>
                      <a:fillRect/>
                    </a:stretch>
                  </p:blipFill>
                  <p:spPr>
                    <a:xfrm>
                      <a:off x="6518800" y="4172046"/>
                      <a:ext cx="18514" cy="20836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9">
                  <p14:nvContentPartPr>
                    <p14:cNvPr id="758" name="Input penna 757">
                      <a:extLst>
                        <a:ext uri="{FF2B5EF4-FFF2-40B4-BE49-F238E27FC236}">
                          <a16:creationId xmlns:a16="http://schemas.microsoft.com/office/drawing/2014/main" id="{ED5A0232-0C48-DD5F-D984-8952AC5E892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5817" y="4396287"/>
                    <a:ext cx="97200" cy="67680"/>
                  </p14:xfrm>
                </p:contentPart>
              </mc:Choice>
              <mc:Fallback xmlns="">
                <p:pic>
                  <p:nvPicPr>
                    <p:cNvPr id="758" name="Input penna 757">
                      <a:extLst>
                        <a:ext uri="{FF2B5EF4-FFF2-40B4-BE49-F238E27FC236}">
                          <a16:creationId xmlns:a16="http://schemas.microsoft.com/office/drawing/2014/main" id="{ED5A0232-0C48-DD5F-D984-8952AC5E892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0"/>
                    <a:stretch>
                      <a:fillRect/>
                    </a:stretch>
                  </p:blipFill>
                  <p:spPr>
                    <a:xfrm>
                      <a:off x="6420811" y="4391304"/>
                      <a:ext cx="107212" cy="7764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1">
                  <p14:nvContentPartPr>
                    <p14:cNvPr id="759" name="Input penna 758">
                      <a:extLst>
                        <a:ext uri="{FF2B5EF4-FFF2-40B4-BE49-F238E27FC236}">
                          <a16:creationId xmlns:a16="http://schemas.microsoft.com/office/drawing/2014/main" id="{629B597D-813C-46F0-8824-3862E7624A2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67737" y="4139607"/>
                    <a:ext cx="641520" cy="74520"/>
                  </p14:xfrm>
                </p:contentPart>
              </mc:Choice>
              <mc:Fallback xmlns="">
                <p:pic>
                  <p:nvPicPr>
                    <p:cNvPr id="759" name="Input penna 758">
                      <a:extLst>
                        <a:ext uri="{FF2B5EF4-FFF2-40B4-BE49-F238E27FC236}">
                          <a16:creationId xmlns:a16="http://schemas.microsoft.com/office/drawing/2014/main" id="{629B597D-813C-46F0-8824-3862E7624A2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2"/>
                    <a:stretch>
                      <a:fillRect/>
                    </a:stretch>
                  </p:blipFill>
                  <p:spPr>
                    <a:xfrm>
                      <a:off x="5762725" y="4134611"/>
                      <a:ext cx="651544" cy="845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3">
                  <p14:nvContentPartPr>
                    <p14:cNvPr id="760" name="Input penna 759">
                      <a:extLst>
                        <a:ext uri="{FF2B5EF4-FFF2-40B4-BE49-F238E27FC236}">
                          <a16:creationId xmlns:a16="http://schemas.microsoft.com/office/drawing/2014/main" id="{31D3E16E-590A-3C84-423D-748BB691600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66206" y="3186602"/>
                    <a:ext cx="565920" cy="44640"/>
                  </p14:xfrm>
                </p:contentPart>
              </mc:Choice>
              <mc:Fallback xmlns="">
                <p:pic>
                  <p:nvPicPr>
                    <p:cNvPr id="760" name="Input penna 759">
                      <a:extLst>
                        <a:ext uri="{FF2B5EF4-FFF2-40B4-BE49-F238E27FC236}">
                          <a16:creationId xmlns:a16="http://schemas.microsoft.com/office/drawing/2014/main" id="{31D3E16E-590A-3C84-423D-748BB691600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4"/>
                    <a:stretch>
                      <a:fillRect/>
                    </a:stretch>
                  </p:blipFill>
                  <p:spPr>
                    <a:xfrm>
                      <a:off x="5761194" y="3181596"/>
                      <a:ext cx="575944" cy="5465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5">
                  <p14:nvContentPartPr>
                    <p14:cNvPr id="761" name="Input penna 760">
                      <a:extLst>
                        <a:ext uri="{FF2B5EF4-FFF2-40B4-BE49-F238E27FC236}">
                          <a16:creationId xmlns:a16="http://schemas.microsoft.com/office/drawing/2014/main" id="{B83E56E4-43EB-22AE-0A2A-68B4DCBCBBC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56846" y="3526802"/>
                    <a:ext cx="562680" cy="12960"/>
                  </p14:xfrm>
                </p:contentPart>
              </mc:Choice>
              <mc:Fallback xmlns="">
                <p:pic>
                  <p:nvPicPr>
                    <p:cNvPr id="761" name="Input penna 760">
                      <a:extLst>
                        <a:ext uri="{FF2B5EF4-FFF2-40B4-BE49-F238E27FC236}">
                          <a16:creationId xmlns:a16="http://schemas.microsoft.com/office/drawing/2014/main" id="{B83E56E4-43EB-22AE-0A2A-68B4DCBCBBC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6"/>
                    <a:stretch>
                      <a:fillRect/>
                    </a:stretch>
                  </p:blipFill>
                  <p:spPr>
                    <a:xfrm>
                      <a:off x="5751837" y="3521785"/>
                      <a:ext cx="572698" cy="2299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7">
                  <p14:nvContentPartPr>
                    <p14:cNvPr id="762" name="Input penna 761">
                      <a:extLst>
                        <a:ext uri="{FF2B5EF4-FFF2-40B4-BE49-F238E27FC236}">
                          <a16:creationId xmlns:a16="http://schemas.microsoft.com/office/drawing/2014/main" id="{CD908AB9-4067-6EEE-D3E6-0C970485F4D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0046" y="3182642"/>
                    <a:ext cx="2160" cy="325080"/>
                  </p14:xfrm>
                </p:contentPart>
              </mc:Choice>
              <mc:Fallback xmlns="">
                <p:pic>
                  <p:nvPicPr>
                    <p:cNvPr id="762" name="Input penna 761">
                      <a:extLst>
                        <a:ext uri="{FF2B5EF4-FFF2-40B4-BE49-F238E27FC236}">
                          <a16:creationId xmlns:a16="http://schemas.microsoft.com/office/drawing/2014/main" id="{CD908AB9-4067-6EEE-D3E6-0C970485F4D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8"/>
                    <a:stretch>
                      <a:fillRect/>
                    </a:stretch>
                  </p:blipFill>
                  <p:spPr>
                    <a:xfrm>
                      <a:off x="6334862" y="3177634"/>
                      <a:ext cx="12528" cy="33509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9">
                  <p14:nvContentPartPr>
                    <p14:cNvPr id="763" name="Input penna 762">
                      <a:extLst>
                        <a:ext uri="{FF2B5EF4-FFF2-40B4-BE49-F238E27FC236}">
                          <a16:creationId xmlns:a16="http://schemas.microsoft.com/office/drawing/2014/main" id="{A6423188-290A-808C-F5FA-39AC5E108D6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7886" y="3181202"/>
                    <a:ext cx="12240" cy="4680"/>
                  </p14:xfrm>
                </p:contentPart>
              </mc:Choice>
              <mc:Fallback xmlns="">
                <p:pic>
                  <p:nvPicPr>
                    <p:cNvPr id="763" name="Input penna 762">
                      <a:extLst>
                        <a:ext uri="{FF2B5EF4-FFF2-40B4-BE49-F238E27FC236}">
                          <a16:creationId xmlns:a16="http://schemas.microsoft.com/office/drawing/2014/main" id="{A6423188-290A-808C-F5FA-39AC5E108D6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0"/>
                    <a:stretch>
                      <a:fillRect/>
                    </a:stretch>
                  </p:blipFill>
                  <p:spPr>
                    <a:xfrm>
                      <a:off x="6332821" y="3176097"/>
                      <a:ext cx="22370" cy="148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1">
                  <p14:nvContentPartPr>
                    <p14:cNvPr id="764" name="Input penna 763">
                      <a:extLst>
                        <a:ext uri="{FF2B5EF4-FFF2-40B4-BE49-F238E27FC236}">
                          <a16:creationId xmlns:a16="http://schemas.microsoft.com/office/drawing/2014/main" id="{FF0C3B65-9B6A-D140-B3F6-6E4920BF870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2126" y="3189122"/>
                    <a:ext cx="24840" cy="324360"/>
                  </p14:xfrm>
                </p:contentPart>
              </mc:Choice>
              <mc:Fallback xmlns="">
                <p:pic>
                  <p:nvPicPr>
                    <p:cNvPr id="764" name="Input penna 763">
                      <a:extLst>
                        <a:ext uri="{FF2B5EF4-FFF2-40B4-BE49-F238E27FC236}">
                          <a16:creationId xmlns:a16="http://schemas.microsoft.com/office/drawing/2014/main" id="{FF0C3B65-9B6A-D140-B3F6-6E4920BF870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2"/>
                    <a:stretch>
                      <a:fillRect/>
                    </a:stretch>
                  </p:blipFill>
                  <p:spPr>
                    <a:xfrm>
                      <a:off x="6327158" y="3184113"/>
                      <a:ext cx="34776" cy="33437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3">
                  <p14:nvContentPartPr>
                    <p14:cNvPr id="765" name="Input penna 764">
                      <a:extLst>
                        <a:ext uri="{FF2B5EF4-FFF2-40B4-BE49-F238E27FC236}">
                          <a16:creationId xmlns:a16="http://schemas.microsoft.com/office/drawing/2014/main" id="{51B21324-FCE0-92DD-3656-76404D6DA10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03606" y="3727322"/>
                    <a:ext cx="33120" cy="62640"/>
                  </p14:xfrm>
                </p:contentPart>
              </mc:Choice>
              <mc:Fallback xmlns="">
                <p:pic>
                  <p:nvPicPr>
                    <p:cNvPr id="765" name="Input penna 764">
                      <a:extLst>
                        <a:ext uri="{FF2B5EF4-FFF2-40B4-BE49-F238E27FC236}">
                          <a16:creationId xmlns:a16="http://schemas.microsoft.com/office/drawing/2014/main" id="{51B21324-FCE0-92DD-3656-76404D6DA10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4"/>
                    <a:stretch>
                      <a:fillRect/>
                    </a:stretch>
                  </p:blipFill>
                  <p:spPr>
                    <a:xfrm>
                      <a:off x="6198575" y="3722311"/>
                      <a:ext cx="43182" cy="726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5">
                  <p14:nvContentPartPr>
                    <p14:cNvPr id="766" name="Input penna 765">
                      <a:extLst>
                        <a:ext uri="{FF2B5EF4-FFF2-40B4-BE49-F238E27FC236}">
                          <a16:creationId xmlns:a16="http://schemas.microsoft.com/office/drawing/2014/main" id="{AC19C16B-7FB9-401B-9AA5-33E0502DFE1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21966" y="3731282"/>
                    <a:ext cx="30240" cy="58680"/>
                  </p14:xfrm>
                </p:contentPart>
              </mc:Choice>
              <mc:Fallback xmlns="">
                <p:pic>
                  <p:nvPicPr>
                    <p:cNvPr id="766" name="Input penna 765">
                      <a:extLst>
                        <a:ext uri="{FF2B5EF4-FFF2-40B4-BE49-F238E27FC236}">
                          <a16:creationId xmlns:a16="http://schemas.microsoft.com/office/drawing/2014/main" id="{AC19C16B-7FB9-401B-9AA5-33E0502DFE1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6"/>
                    <a:stretch>
                      <a:fillRect/>
                    </a:stretch>
                  </p:blipFill>
                  <p:spPr>
                    <a:xfrm>
                      <a:off x="6216995" y="3726252"/>
                      <a:ext cx="40182" cy="687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7">
                  <p14:nvContentPartPr>
                    <p14:cNvPr id="767" name="Input penna 766">
                      <a:extLst>
                        <a:ext uri="{FF2B5EF4-FFF2-40B4-BE49-F238E27FC236}">
                          <a16:creationId xmlns:a16="http://schemas.microsoft.com/office/drawing/2014/main" id="{781350AE-A9BF-37F6-DC26-0F6FD6BA7CA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46806" y="3737042"/>
                    <a:ext cx="11520" cy="2520"/>
                  </p14:xfrm>
                </p:contentPart>
              </mc:Choice>
              <mc:Fallback xmlns="">
                <p:pic>
                  <p:nvPicPr>
                    <p:cNvPr id="767" name="Input penna 766">
                      <a:extLst>
                        <a:ext uri="{FF2B5EF4-FFF2-40B4-BE49-F238E27FC236}">
                          <a16:creationId xmlns:a16="http://schemas.microsoft.com/office/drawing/2014/main" id="{781350AE-A9BF-37F6-DC26-0F6FD6BA7CA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8"/>
                    <a:stretch>
                      <a:fillRect/>
                    </a:stretch>
                  </p:blipFill>
                  <p:spPr>
                    <a:xfrm>
                      <a:off x="6241869" y="3732002"/>
                      <a:ext cx="21394" cy="126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9">
                  <p14:nvContentPartPr>
                    <p14:cNvPr id="768" name="Input penna 767">
                      <a:extLst>
                        <a:ext uri="{FF2B5EF4-FFF2-40B4-BE49-F238E27FC236}">
                          <a16:creationId xmlns:a16="http://schemas.microsoft.com/office/drawing/2014/main" id="{915470CD-F9BA-E1A7-403C-B212C058453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56526" y="3764402"/>
                    <a:ext cx="15120" cy="1440"/>
                  </p14:xfrm>
                </p:contentPart>
              </mc:Choice>
              <mc:Fallback xmlns="">
                <p:pic>
                  <p:nvPicPr>
                    <p:cNvPr id="768" name="Input penna 767">
                      <a:extLst>
                        <a:ext uri="{FF2B5EF4-FFF2-40B4-BE49-F238E27FC236}">
                          <a16:creationId xmlns:a16="http://schemas.microsoft.com/office/drawing/2014/main" id="{915470CD-F9BA-E1A7-403C-B212C058453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0"/>
                    <a:stretch>
                      <a:fillRect/>
                    </a:stretch>
                  </p:blipFill>
                  <p:spPr>
                    <a:xfrm>
                      <a:off x="6251486" y="3760082"/>
                      <a:ext cx="25200" cy="100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1">
                  <p14:nvContentPartPr>
                    <p14:cNvPr id="769" name="Input penna 768">
                      <a:extLst>
                        <a:ext uri="{FF2B5EF4-FFF2-40B4-BE49-F238E27FC236}">
                          <a16:creationId xmlns:a16="http://schemas.microsoft.com/office/drawing/2014/main" id="{106ED2C5-16A1-592C-B5C9-49BF85EF07A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71246" y="3590162"/>
                    <a:ext cx="31320" cy="44280"/>
                  </p14:xfrm>
                </p:contentPart>
              </mc:Choice>
              <mc:Fallback xmlns="">
                <p:pic>
                  <p:nvPicPr>
                    <p:cNvPr id="769" name="Input penna 768">
                      <a:extLst>
                        <a:ext uri="{FF2B5EF4-FFF2-40B4-BE49-F238E27FC236}">
                          <a16:creationId xmlns:a16="http://schemas.microsoft.com/office/drawing/2014/main" id="{106ED2C5-16A1-592C-B5C9-49BF85EF07A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2"/>
                    <a:stretch>
                      <a:fillRect/>
                    </a:stretch>
                  </p:blipFill>
                  <p:spPr>
                    <a:xfrm>
                      <a:off x="5766235" y="3585196"/>
                      <a:ext cx="41342" cy="542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3">
                  <p14:nvContentPartPr>
                    <p14:cNvPr id="770" name="Input penna 769">
                      <a:extLst>
                        <a:ext uri="{FF2B5EF4-FFF2-40B4-BE49-F238E27FC236}">
                          <a16:creationId xmlns:a16="http://schemas.microsoft.com/office/drawing/2014/main" id="{28C36C48-FD27-6983-FA84-4042F5CDF45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11566" y="3596642"/>
                    <a:ext cx="38880" cy="34200"/>
                  </p14:xfrm>
                </p:contentPart>
              </mc:Choice>
              <mc:Fallback xmlns="">
                <p:pic>
                  <p:nvPicPr>
                    <p:cNvPr id="770" name="Input penna 769">
                      <a:extLst>
                        <a:ext uri="{FF2B5EF4-FFF2-40B4-BE49-F238E27FC236}">
                          <a16:creationId xmlns:a16="http://schemas.microsoft.com/office/drawing/2014/main" id="{28C36C48-FD27-6983-FA84-4042F5CDF45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4"/>
                    <a:stretch>
                      <a:fillRect/>
                    </a:stretch>
                  </p:blipFill>
                  <p:spPr>
                    <a:xfrm>
                      <a:off x="5806549" y="3591637"/>
                      <a:ext cx="48914" cy="4421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5">
                  <p14:nvContentPartPr>
                    <p14:cNvPr id="771" name="Input penna 770">
                      <a:extLst>
                        <a:ext uri="{FF2B5EF4-FFF2-40B4-BE49-F238E27FC236}">
                          <a16:creationId xmlns:a16="http://schemas.microsoft.com/office/drawing/2014/main" id="{43BCEA55-DCEE-1E34-D631-BC7152697F4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82046" y="3597002"/>
                    <a:ext cx="15480" cy="4320"/>
                  </p14:xfrm>
                </p:contentPart>
              </mc:Choice>
              <mc:Fallback xmlns="">
                <p:pic>
                  <p:nvPicPr>
                    <p:cNvPr id="771" name="Input penna 770">
                      <a:extLst>
                        <a:ext uri="{FF2B5EF4-FFF2-40B4-BE49-F238E27FC236}">
                          <a16:creationId xmlns:a16="http://schemas.microsoft.com/office/drawing/2014/main" id="{43BCEA55-DCEE-1E34-D631-BC7152697F4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6"/>
                    <a:stretch>
                      <a:fillRect/>
                    </a:stretch>
                  </p:blipFill>
                  <p:spPr>
                    <a:xfrm>
                      <a:off x="5777025" y="3591818"/>
                      <a:ext cx="25521" cy="1468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7">
                  <p14:nvContentPartPr>
                    <p14:cNvPr id="772" name="Input penna 771">
                      <a:extLst>
                        <a:ext uri="{FF2B5EF4-FFF2-40B4-BE49-F238E27FC236}">
                          <a16:creationId xmlns:a16="http://schemas.microsoft.com/office/drawing/2014/main" id="{10609BD2-A366-5CF8-28B3-2E3102D8B98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89966" y="3663242"/>
                    <a:ext cx="46080" cy="36720"/>
                  </p14:xfrm>
                </p:contentPart>
              </mc:Choice>
              <mc:Fallback xmlns="">
                <p:pic>
                  <p:nvPicPr>
                    <p:cNvPr id="772" name="Input penna 771">
                      <a:extLst>
                        <a:ext uri="{FF2B5EF4-FFF2-40B4-BE49-F238E27FC236}">
                          <a16:creationId xmlns:a16="http://schemas.microsoft.com/office/drawing/2014/main" id="{10609BD2-A366-5CF8-28B3-2E3102D8B98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8"/>
                    <a:stretch>
                      <a:fillRect/>
                    </a:stretch>
                  </p:blipFill>
                  <p:spPr>
                    <a:xfrm>
                      <a:off x="5784939" y="3658235"/>
                      <a:ext cx="56134" cy="4673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9">
                  <p14:nvContentPartPr>
                    <p14:cNvPr id="773" name="Input penna 772">
                      <a:extLst>
                        <a:ext uri="{FF2B5EF4-FFF2-40B4-BE49-F238E27FC236}">
                          <a16:creationId xmlns:a16="http://schemas.microsoft.com/office/drawing/2014/main" id="{4C4DCE74-528D-6CB5-49D4-451D1D4F859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64766" y="3543722"/>
                    <a:ext cx="3600" cy="44640"/>
                  </p14:xfrm>
                </p:contentPart>
              </mc:Choice>
              <mc:Fallback xmlns="">
                <p:pic>
                  <p:nvPicPr>
                    <p:cNvPr id="773" name="Input penna 772">
                      <a:extLst>
                        <a:ext uri="{FF2B5EF4-FFF2-40B4-BE49-F238E27FC236}">
                          <a16:creationId xmlns:a16="http://schemas.microsoft.com/office/drawing/2014/main" id="{4C4DCE74-528D-6CB5-49D4-451D1D4F859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0"/>
                    <a:stretch>
                      <a:fillRect/>
                    </a:stretch>
                  </p:blipFill>
                  <p:spPr>
                    <a:xfrm>
                      <a:off x="5759966" y="3538716"/>
                      <a:ext cx="13200" cy="5465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1">
                  <p14:nvContentPartPr>
                    <p14:cNvPr id="774" name="Input penna 773">
                      <a:extLst>
                        <a:ext uri="{FF2B5EF4-FFF2-40B4-BE49-F238E27FC236}">
                          <a16:creationId xmlns:a16="http://schemas.microsoft.com/office/drawing/2014/main" id="{76C6792A-A558-EF68-2BE0-49BA2CF2599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69446" y="3639482"/>
                    <a:ext cx="4680" cy="75240"/>
                  </p14:xfrm>
                </p:contentPart>
              </mc:Choice>
              <mc:Fallback xmlns="">
                <p:pic>
                  <p:nvPicPr>
                    <p:cNvPr id="774" name="Input penna 773">
                      <a:extLst>
                        <a:ext uri="{FF2B5EF4-FFF2-40B4-BE49-F238E27FC236}">
                          <a16:creationId xmlns:a16="http://schemas.microsoft.com/office/drawing/2014/main" id="{76C6792A-A558-EF68-2BE0-49BA2CF2599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2"/>
                    <a:stretch>
                      <a:fillRect/>
                    </a:stretch>
                  </p:blipFill>
                  <p:spPr>
                    <a:xfrm>
                      <a:off x="5763830" y="3634494"/>
                      <a:ext cx="15912" cy="8521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3">
                  <p14:nvContentPartPr>
                    <p14:cNvPr id="775" name="Input penna 774">
                      <a:extLst>
                        <a:ext uri="{FF2B5EF4-FFF2-40B4-BE49-F238E27FC236}">
                          <a16:creationId xmlns:a16="http://schemas.microsoft.com/office/drawing/2014/main" id="{B9E286E3-430A-118A-CE5F-71C05B29B8C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85646" y="3733802"/>
                    <a:ext cx="63000" cy="58320"/>
                  </p14:xfrm>
                </p:contentPart>
              </mc:Choice>
              <mc:Fallback xmlns="">
                <p:pic>
                  <p:nvPicPr>
                    <p:cNvPr id="775" name="Input penna 774">
                      <a:extLst>
                        <a:ext uri="{FF2B5EF4-FFF2-40B4-BE49-F238E27FC236}">
                          <a16:creationId xmlns:a16="http://schemas.microsoft.com/office/drawing/2014/main" id="{B9E286E3-430A-118A-CE5F-71C05B29B8C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4"/>
                    <a:stretch>
                      <a:fillRect/>
                    </a:stretch>
                  </p:blipFill>
                  <p:spPr>
                    <a:xfrm>
                      <a:off x="5780639" y="3728803"/>
                      <a:ext cx="73013" cy="6831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5">
                  <p14:nvContentPartPr>
                    <p14:cNvPr id="776" name="Input penna 775">
                      <a:extLst>
                        <a:ext uri="{FF2B5EF4-FFF2-40B4-BE49-F238E27FC236}">
                          <a16:creationId xmlns:a16="http://schemas.microsoft.com/office/drawing/2014/main" id="{27D0F1B0-CBA6-58FC-04AC-1FF4B02BD3D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76286" y="3795002"/>
                    <a:ext cx="571680" cy="15480"/>
                  </p14:xfrm>
                </p:contentPart>
              </mc:Choice>
              <mc:Fallback xmlns="">
                <p:pic>
                  <p:nvPicPr>
                    <p:cNvPr id="776" name="Input penna 775">
                      <a:extLst>
                        <a:ext uri="{FF2B5EF4-FFF2-40B4-BE49-F238E27FC236}">
                          <a16:creationId xmlns:a16="http://schemas.microsoft.com/office/drawing/2014/main" id="{27D0F1B0-CBA6-58FC-04AC-1FF4B02BD3D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6"/>
                    <a:stretch>
                      <a:fillRect/>
                    </a:stretch>
                  </p:blipFill>
                  <p:spPr>
                    <a:xfrm>
                      <a:off x="5771275" y="3789981"/>
                      <a:ext cx="581702" cy="255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7">
                  <p14:nvContentPartPr>
                    <p14:cNvPr id="777" name="Input penna 776">
                      <a:extLst>
                        <a:ext uri="{FF2B5EF4-FFF2-40B4-BE49-F238E27FC236}">
                          <a16:creationId xmlns:a16="http://schemas.microsoft.com/office/drawing/2014/main" id="{BB1F79EC-1EC4-B5CA-0E06-A7E114B3715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8966" y="3526802"/>
                    <a:ext cx="8280" cy="276120"/>
                  </p14:xfrm>
                </p:contentPart>
              </mc:Choice>
              <mc:Fallback xmlns="">
                <p:pic>
                  <p:nvPicPr>
                    <p:cNvPr id="777" name="Input penna 776">
                      <a:extLst>
                        <a:ext uri="{FF2B5EF4-FFF2-40B4-BE49-F238E27FC236}">
                          <a16:creationId xmlns:a16="http://schemas.microsoft.com/office/drawing/2014/main" id="{BB1F79EC-1EC4-B5CA-0E06-A7E114B3715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8"/>
                    <a:stretch>
                      <a:fillRect/>
                    </a:stretch>
                  </p:blipFill>
                  <p:spPr>
                    <a:xfrm>
                      <a:off x="6333998" y="3521797"/>
                      <a:ext cx="18216" cy="28613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9">
                  <p14:nvContentPartPr>
                    <p14:cNvPr id="778" name="Input penna 777">
                      <a:extLst>
                        <a:ext uri="{FF2B5EF4-FFF2-40B4-BE49-F238E27FC236}">
                          <a16:creationId xmlns:a16="http://schemas.microsoft.com/office/drawing/2014/main" id="{238C951B-E547-2364-C36E-14B8548CCC9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9406" y="3513122"/>
                    <a:ext cx="5040" cy="276840"/>
                  </p14:xfrm>
                </p:contentPart>
              </mc:Choice>
              <mc:Fallback xmlns="">
                <p:pic>
                  <p:nvPicPr>
                    <p:cNvPr id="778" name="Input penna 777">
                      <a:extLst>
                        <a:ext uri="{FF2B5EF4-FFF2-40B4-BE49-F238E27FC236}">
                          <a16:creationId xmlns:a16="http://schemas.microsoft.com/office/drawing/2014/main" id="{238C951B-E547-2364-C36E-14B8548CCC9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0"/>
                    <a:stretch>
                      <a:fillRect/>
                    </a:stretch>
                  </p:blipFill>
                  <p:spPr>
                    <a:xfrm>
                      <a:off x="6344366" y="3508104"/>
                      <a:ext cx="15120" cy="28687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1">
                  <p14:nvContentPartPr>
                    <p14:cNvPr id="779" name="Input penna 778">
                      <a:extLst>
                        <a:ext uri="{FF2B5EF4-FFF2-40B4-BE49-F238E27FC236}">
                          <a16:creationId xmlns:a16="http://schemas.microsoft.com/office/drawing/2014/main" id="{6144FAB3-8234-696D-E993-1E180E4F7FF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91006" y="3571082"/>
                    <a:ext cx="47160" cy="51480"/>
                  </p14:xfrm>
                </p:contentPart>
              </mc:Choice>
              <mc:Fallback xmlns="">
                <p:pic>
                  <p:nvPicPr>
                    <p:cNvPr id="779" name="Input penna 778">
                      <a:extLst>
                        <a:ext uri="{FF2B5EF4-FFF2-40B4-BE49-F238E27FC236}">
                          <a16:creationId xmlns:a16="http://schemas.microsoft.com/office/drawing/2014/main" id="{6144FAB3-8234-696D-E993-1E180E4F7FF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2"/>
                    <a:stretch>
                      <a:fillRect/>
                    </a:stretch>
                  </p:blipFill>
                  <p:spPr>
                    <a:xfrm>
                      <a:off x="6185998" y="3566060"/>
                      <a:ext cx="57176" cy="6152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3">
                  <p14:nvContentPartPr>
                    <p14:cNvPr id="780" name="Input penna 779">
                      <a:extLst>
                        <a:ext uri="{FF2B5EF4-FFF2-40B4-BE49-F238E27FC236}">
                          <a16:creationId xmlns:a16="http://schemas.microsoft.com/office/drawing/2014/main" id="{149A35E5-1C1E-6C7E-A350-4E2165BB886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68046" y="3575042"/>
                    <a:ext cx="38160" cy="52200"/>
                  </p14:xfrm>
                </p:contentPart>
              </mc:Choice>
              <mc:Fallback xmlns="">
                <p:pic>
                  <p:nvPicPr>
                    <p:cNvPr id="780" name="Input penna 779">
                      <a:extLst>
                        <a:ext uri="{FF2B5EF4-FFF2-40B4-BE49-F238E27FC236}">
                          <a16:creationId xmlns:a16="http://schemas.microsoft.com/office/drawing/2014/main" id="{149A35E5-1C1E-6C7E-A350-4E2165BB886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4"/>
                    <a:stretch>
                      <a:fillRect/>
                    </a:stretch>
                  </p:blipFill>
                  <p:spPr>
                    <a:xfrm>
                      <a:off x="6263069" y="3569990"/>
                      <a:ext cx="48115" cy="6230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5">
                  <p14:nvContentPartPr>
                    <p14:cNvPr id="781" name="Input penna 780">
                      <a:extLst>
                        <a:ext uri="{FF2B5EF4-FFF2-40B4-BE49-F238E27FC236}">
                          <a16:creationId xmlns:a16="http://schemas.microsoft.com/office/drawing/2014/main" id="{61E1062A-3B13-1434-76CE-6CBFF6D8B0C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58366" y="3561722"/>
                    <a:ext cx="313920" cy="8640"/>
                  </p14:xfrm>
                </p:contentPart>
              </mc:Choice>
              <mc:Fallback xmlns="">
                <p:pic>
                  <p:nvPicPr>
                    <p:cNvPr id="781" name="Input penna 780">
                      <a:extLst>
                        <a:ext uri="{FF2B5EF4-FFF2-40B4-BE49-F238E27FC236}">
                          <a16:creationId xmlns:a16="http://schemas.microsoft.com/office/drawing/2014/main" id="{61E1062A-3B13-1434-76CE-6CBFF6D8B0C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6"/>
                    <a:stretch>
                      <a:fillRect/>
                    </a:stretch>
                  </p:blipFill>
                  <p:spPr>
                    <a:xfrm>
                      <a:off x="5853357" y="3556785"/>
                      <a:ext cx="323939" cy="1851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7">
                  <p14:nvContentPartPr>
                    <p14:cNvPr id="782" name="Input penna 781">
                      <a:extLst>
                        <a:ext uri="{FF2B5EF4-FFF2-40B4-BE49-F238E27FC236}">
                          <a16:creationId xmlns:a16="http://schemas.microsoft.com/office/drawing/2014/main" id="{EC8AAEB6-B72C-C4F5-6CE3-82E34AD78D9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72046" y="3550202"/>
                    <a:ext cx="11880" cy="220680"/>
                  </p14:xfrm>
                </p:contentPart>
              </mc:Choice>
              <mc:Fallback xmlns="">
                <p:pic>
                  <p:nvPicPr>
                    <p:cNvPr id="782" name="Input penna 781">
                      <a:extLst>
                        <a:ext uri="{FF2B5EF4-FFF2-40B4-BE49-F238E27FC236}">
                          <a16:creationId xmlns:a16="http://schemas.microsoft.com/office/drawing/2014/main" id="{EC8AAEB6-B72C-C4F5-6CE3-82E34AD78D9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8"/>
                    <a:stretch>
                      <a:fillRect/>
                    </a:stretch>
                  </p:blipFill>
                  <p:spPr>
                    <a:xfrm>
                      <a:off x="5867130" y="3545196"/>
                      <a:ext cx="21712" cy="23069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9">
                  <p14:nvContentPartPr>
                    <p14:cNvPr id="783" name="Input penna 782">
                      <a:extLst>
                        <a:ext uri="{FF2B5EF4-FFF2-40B4-BE49-F238E27FC236}">
                          <a16:creationId xmlns:a16="http://schemas.microsoft.com/office/drawing/2014/main" id="{4F735654-F712-C233-33DA-D6A868A504D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70606" y="3776282"/>
                    <a:ext cx="309240" cy="5040"/>
                  </p14:xfrm>
                </p:contentPart>
              </mc:Choice>
              <mc:Fallback xmlns="">
                <p:pic>
                  <p:nvPicPr>
                    <p:cNvPr id="783" name="Input penna 782">
                      <a:extLst>
                        <a:ext uri="{FF2B5EF4-FFF2-40B4-BE49-F238E27FC236}">
                          <a16:creationId xmlns:a16="http://schemas.microsoft.com/office/drawing/2014/main" id="{4F735654-F712-C233-33DA-D6A868A504D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0"/>
                    <a:stretch>
                      <a:fillRect/>
                    </a:stretch>
                  </p:blipFill>
                  <p:spPr>
                    <a:xfrm>
                      <a:off x="5865605" y="3771242"/>
                      <a:ext cx="319242" cy="151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1">
                  <p14:nvContentPartPr>
                    <p14:cNvPr id="784" name="Input penna 783">
                      <a:extLst>
                        <a:ext uri="{FF2B5EF4-FFF2-40B4-BE49-F238E27FC236}">
                          <a16:creationId xmlns:a16="http://schemas.microsoft.com/office/drawing/2014/main" id="{2708006E-4FEE-3294-AC01-48E2C4B1281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68326" y="3542642"/>
                    <a:ext cx="17280" cy="239400"/>
                  </p14:xfrm>
                </p:contentPart>
              </mc:Choice>
              <mc:Fallback xmlns="">
                <p:pic>
                  <p:nvPicPr>
                    <p:cNvPr id="784" name="Input penna 783">
                      <a:extLst>
                        <a:ext uri="{FF2B5EF4-FFF2-40B4-BE49-F238E27FC236}">
                          <a16:creationId xmlns:a16="http://schemas.microsoft.com/office/drawing/2014/main" id="{2708006E-4FEE-3294-AC01-48E2C4B1281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2"/>
                    <a:stretch>
                      <a:fillRect/>
                    </a:stretch>
                  </p:blipFill>
                  <p:spPr>
                    <a:xfrm>
                      <a:off x="6163389" y="3537628"/>
                      <a:ext cx="27154" cy="24942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3">
                  <p14:nvContentPartPr>
                    <p14:cNvPr id="785" name="Input penna 784">
                      <a:extLst>
                        <a:ext uri="{FF2B5EF4-FFF2-40B4-BE49-F238E27FC236}">
                          <a16:creationId xmlns:a16="http://schemas.microsoft.com/office/drawing/2014/main" id="{2907708F-710A-CFE7-F1D3-B92A086C0F3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4326" y="3215042"/>
                    <a:ext cx="9000" cy="272880"/>
                  </p14:xfrm>
                </p:contentPart>
              </mc:Choice>
              <mc:Fallback xmlns="">
                <p:pic>
                  <p:nvPicPr>
                    <p:cNvPr id="785" name="Input penna 784">
                      <a:extLst>
                        <a:ext uri="{FF2B5EF4-FFF2-40B4-BE49-F238E27FC236}">
                          <a16:creationId xmlns:a16="http://schemas.microsoft.com/office/drawing/2014/main" id="{2907708F-710A-CFE7-F1D3-B92A086C0F3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4"/>
                    <a:stretch>
                      <a:fillRect/>
                    </a:stretch>
                  </p:blipFill>
                  <p:spPr>
                    <a:xfrm>
                      <a:off x="6109417" y="3210035"/>
                      <a:ext cx="18818" cy="28289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5">
                  <p14:nvContentPartPr>
                    <p14:cNvPr id="786" name="Input penna 785">
                      <a:extLst>
                        <a:ext uri="{FF2B5EF4-FFF2-40B4-BE49-F238E27FC236}">
                          <a16:creationId xmlns:a16="http://schemas.microsoft.com/office/drawing/2014/main" id="{5388A3BE-9C97-8E80-4626-BB5267BF705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7566" y="3210002"/>
                    <a:ext cx="218520" cy="15840"/>
                  </p14:xfrm>
                </p:contentPart>
              </mc:Choice>
              <mc:Fallback xmlns="">
                <p:pic>
                  <p:nvPicPr>
                    <p:cNvPr id="786" name="Input penna 785">
                      <a:extLst>
                        <a:ext uri="{FF2B5EF4-FFF2-40B4-BE49-F238E27FC236}">
                          <a16:creationId xmlns:a16="http://schemas.microsoft.com/office/drawing/2014/main" id="{5388A3BE-9C97-8E80-4626-BB5267BF705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6"/>
                    <a:stretch>
                      <a:fillRect/>
                    </a:stretch>
                  </p:blipFill>
                  <p:spPr>
                    <a:xfrm>
                      <a:off x="6112552" y="3205000"/>
                      <a:ext cx="228548" cy="2584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7">
                  <p14:nvContentPartPr>
                    <p14:cNvPr id="787" name="Input penna 786">
                      <a:extLst>
                        <a:ext uri="{FF2B5EF4-FFF2-40B4-BE49-F238E27FC236}">
                          <a16:creationId xmlns:a16="http://schemas.microsoft.com/office/drawing/2014/main" id="{432D2342-D7AF-C3CE-4C61-C704BC78FC8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4686" y="3482882"/>
                    <a:ext cx="200160" cy="11880"/>
                  </p14:xfrm>
                </p:contentPart>
              </mc:Choice>
              <mc:Fallback xmlns="">
                <p:pic>
                  <p:nvPicPr>
                    <p:cNvPr id="787" name="Input penna 786">
                      <a:extLst>
                        <a:ext uri="{FF2B5EF4-FFF2-40B4-BE49-F238E27FC236}">
                          <a16:creationId xmlns:a16="http://schemas.microsoft.com/office/drawing/2014/main" id="{432D2342-D7AF-C3CE-4C61-C704BC78FC8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8"/>
                    <a:stretch>
                      <a:fillRect/>
                    </a:stretch>
                  </p:blipFill>
                  <p:spPr>
                    <a:xfrm>
                      <a:off x="6109672" y="3477966"/>
                      <a:ext cx="210189" cy="217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9">
                  <p14:nvContentPartPr>
                    <p14:cNvPr id="788" name="Input penna 787">
                      <a:extLst>
                        <a:ext uri="{FF2B5EF4-FFF2-40B4-BE49-F238E27FC236}">
                          <a16:creationId xmlns:a16="http://schemas.microsoft.com/office/drawing/2014/main" id="{0D8A1919-0422-F208-3667-990E136309B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25286" y="3215042"/>
                    <a:ext cx="11880" cy="295200"/>
                  </p14:xfrm>
                </p:contentPart>
              </mc:Choice>
              <mc:Fallback xmlns="">
                <p:pic>
                  <p:nvPicPr>
                    <p:cNvPr id="788" name="Input penna 787">
                      <a:extLst>
                        <a:ext uri="{FF2B5EF4-FFF2-40B4-BE49-F238E27FC236}">
                          <a16:creationId xmlns:a16="http://schemas.microsoft.com/office/drawing/2014/main" id="{0D8A1919-0422-F208-3667-990E136309B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0"/>
                    <a:stretch>
                      <a:fillRect/>
                    </a:stretch>
                  </p:blipFill>
                  <p:spPr>
                    <a:xfrm>
                      <a:off x="6320195" y="3210032"/>
                      <a:ext cx="22063" cy="3052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1">
                  <p14:nvContentPartPr>
                    <p14:cNvPr id="789" name="Input penna 788">
                      <a:extLst>
                        <a:ext uri="{FF2B5EF4-FFF2-40B4-BE49-F238E27FC236}">
                          <a16:creationId xmlns:a16="http://schemas.microsoft.com/office/drawing/2014/main" id="{F34083FE-135F-EFD2-143C-6F0184E01DC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7926" y="3251402"/>
                    <a:ext cx="220320" cy="13680"/>
                  </p14:xfrm>
                </p:contentPart>
              </mc:Choice>
              <mc:Fallback xmlns="">
                <p:pic>
                  <p:nvPicPr>
                    <p:cNvPr id="789" name="Input penna 788">
                      <a:extLst>
                        <a:ext uri="{FF2B5EF4-FFF2-40B4-BE49-F238E27FC236}">
                          <a16:creationId xmlns:a16="http://schemas.microsoft.com/office/drawing/2014/main" id="{F34083FE-135F-EFD2-143C-6F0184E01DC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2"/>
                    <a:stretch>
                      <a:fillRect/>
                    </a:stretch>
                  </p:blipFill>
                  <p:spPr>
                    <a:xfrm>
                      <a:off x="6112919" y="3246427"/>
                      <a:ext cx="230335" cy="2362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3">
                  <p14:nvContentPartPr>
                    <p14:cNvPr id="790" name="Input penna 789">
                      <a:extLst>
                        <a:ext uri="{FF2B5EF4-FFF2-40B4-BE49-F238E27FC236}">
                          <a16:creationId xmlns:a16="http://schemas.microsoft.com/office/drawing/2014/main" id="{87D09C61-2CB2-7136-B482-7AFF8D38B85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02086" y="3287762"/>
                    <a:ext cx="205200" cy="7560"/>
                  </p14:xfrm>
                </p:contentPart>
              </mc:Choice>
              <mc:Fallback xmlns="">
                <p:pic>
                  <p:nvPicPr>
                    <p:cNvPr id="790" name="Input penna 789">
                      <a:extLst>
                        <a:ext uri="{FF2B5EF4-FFF2-40B4-BE49-F238E27FC236}">
                          <a16:creationId xmlns:a16="http://schemas.microsoft.com/office/drawing/2014/main" id="{87D09C61-2CB2-7136-B482-7AFF8D38B85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4"/>
                    <a:stretch>
                      <a:fillRect/>
                    </a:stretch>
                  </p:blipFill>
                  <p:spPr>
                    <a:xfrm>
                      <a:off x="6097081" y="3282426"/>
                      <a:ext cx="215210" cy="182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5">
                  <p14:nvContentPartPr>
                    <p14:cNvPr id="791" name="Input penna 790">
                      <a:extLst>
                        <a:ext uri="{FF2B5EF4-FFF2-40B4-BE49-F238E27FC236}">
                          <a16:creationId xmlns:a16="http://schemas.microsoft.com/office/drawing/2014/main" id="{A64B04F9-5C71-23C2-D842-1B96DF1AF72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3966" y="3315122"/>
                    <a:ext cx="199800" cy="14040"/>
                  </p14:xfrm>
                </p:contentPart>
              </mc:Choice>
              <mc:Fallback xmlns="">
                <p:pic>
                  <p:nvPicPr>
                    <p:cNvPr id="791" name="Input penna 790">
                      <a:extLst>
                        <a:ext uri="{FF2B5EF4-FFF2-40B4-BE49-F238E27FC236}">
                          <a16:creationId xmlns:a16="http://schemas.microsoft.com/office/drawing/2014/main" id="{A64B04F9-5C71-23C2-D842-1B96DF1AF72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6"/>
                    <a:stretch>
                      <a:fillRect/>
                    </a:stretch>
                  </p:blipFill>
                  <p:spPr>
                    <a:xfrm>
                      <a:off x="6108961" y="3310017"/>
                      <a:ext cx="209811" cy="242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7">
                  <p14:nvContentPartPr>
                    <p14:cNvPr id="792" name="Input penna 791">
                      <a:extLst>
                        <a:ext uri="{FF2B5EF4-FFF2-40B4-BE49-F238E27FC236}">
                          <a16:creationId xmlns:a16="http://schemas.microsoft.com/office/drawing/2014/main" id="{E8B8D17B-9AD5-7F3D-ACBC-24A07B48B3E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7926" y="3344642"/>
                    <a:ext cx="190080" cy="10440"/>
                  </p14:xfrm>
                </p:contentPart>
              </mc:Choice>
              <mc:Fallback xmlns="">
                <p:pic>
                  <p:nvPicPr>
                    <p:cNvPr id="792" name="Input penna 791">
                      <a:extLst>
                        <a:ext uri="{FF2B5EF4-FFF2-40B4-BE49-F238E27FC236}">
                          <a16:creationId xmlns:a16="http://schemas.microsoft.com/office/drawing/2014/main" id="{E8B8D17B-9AD5-7F3D-ACBC-24A07B48B3E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8"/>
                    <a:stretch>
                      <a:fillRect/>
                    </a:stretch>
                  </p:blipFill>
                  <p:spPr>
                    <a:xfrm>
                      <a:off x="6112913" y="3339631"/>
                      <a:ext cx="200106" cy="204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9">
                  <p14:nvContentPartPr>
                    <p14:cNvPr id="793" name="Input penna 792">
                      <a:extLst>
                        <a:ext uri="{FF2B5EF4-FFF2-40B4-BE49-F238E27FC236}">
                          <a16:creationId xmlns:a16="http://schemas.microsoft.com/office/drawing/2014/main" id="{3A0DB819-1087-D3C4-B94E-9DEEFCF7402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0366" y="3372362"/>
                    <a:ext cx="200520" cy="9360"/>
                  </p14:xfrm>
                </p:contentPart>
              </mc:Choice>
              <mc:Fallback xmlns="">
                <p:pic>
                  <p:nvPicPr>
                    <p:cNvPr id="793" name="Input penna 792">
                      <a:extLst>
                        <a:ext uri="{FF2B5EF4-FFF2-40B4-BE49-F238E27FC236}">
                          <a16:creationId xmlns:a16="http://schemas.microsoft.com/office/drawing/2014/main" id="{3A0DB819-1087-D3C4-B94E-9DEEFCF7402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0"/>
                    <a:stretch>
                      <a:fillRect/>
                    </a:stretch>
                  </p:blipFill>
                  <p:spPr>
                    <a:xfrm>
                      <a:off x="6105353" y="3367479"/>
                      <a:ext cx="210546" cy="1912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1">
                  <p14:nvContentPartPr>
                    <p14:cNvPr id="794" name="Input penna 793">
                      <a:extLst>
                        <a:ext uri="{FF2B5EF4-FFF2-40B4-BE49-F238E27FC236}">
                          <a16:creationId xmlns:a16="http://schemas.microsoft.com/office/drawing/2014/main" id="{0AA8AAE8-3007-B81E-A074-073E382E776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09646" y="3402602"/>
                    <a:ext cx="206640" cy="6840"/>
                  </p14:xfrm>
                </p:contentPart>
              </mc:Choice>
              <mc:Fallback xmlns="">
                <p:pic>
                  <p:nvPicPr>
                    <p:cNvPr id="794" name="Input penna 793">
                      <a:extLst>
                        <a:ext uri="{FF2B5EF4-FFF2-40B4-BE49-F238E27FC236}">
                          <a16:creationId xmlns:a16="http://schemas.microsoft.com/office/drawing/2014/main" id="{0AA8AAE8-3007-B81E-A074-073E382E776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2"/>
                    <a:stretch>
                      <a:fillRect/>
                    </a:stretch>
                  </p:blipFill>
                  <p:spPr>
                    <a:xfrm>
                      <a:off x="6104637" y="3397774"/>
                      <a:ext cx="216659" cy="1649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3">
                  <p14:nvContentPartPr>
                    <p14:cNvPr id="795" name="Input penna 794">
                      <a:extLst>
                        <a:ext uri="{FF2B5EF4-FFF2-40B4-BE49-F238E27FC236}">
                          <a16:creationId xmlns:a16="http://schemas.microsoft.com/office/drawing/2014/main" id="{0DA3DD9F-A041-9037-E04C-1E47DE97AFC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2526" y="3437522"/>
                    <a:ext cx="194040" cy="5760"/>
                  </p14:xfrm>
                </p:contentPart>
              </mc:Choice>
              <mc:Fallback xmlns="">
                <p:pic>
                  <p:nvPicPr>
                    <p:cNvPr id="795" name="Input penna 794">
                      <a:extLst>
                        <a:ext uri="{FF2B5EF4-FFF2-40B4-BE49-F238E27FC236}">
                          <a16:creationId xmlns:a16="http://schemas.microsoft.com/office/drawing/2014/main" id="{0DA3DD9F-A041-9037-E04C-1E47DE97AFC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4"/>
                    <a:stretch>
                      <a:fillRect/>
                    </a:stretch>
                  </p:blipFill>
                  <p:spPr>
                    <a:xfrm>
                      <a:off x="6107529" y="3432585"/>
                      <a:ext cx="204033" cy="1563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5">
                  <p14:nvContentPartPr>
                    <p14:cNvPr id="796" name="Input penna 795">
                      <a:extLst>
                        <a:ext uri="{FF2B5EF4-FFF2-40B4-BE49-F238E27FC236}">
                          <a16:creationId xmlns:a16="http://schemas.microsoft.com/office/drawing/2014/main" id="{82E5B9F4-312C-476A-2700-E8600211423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5406" y="3466682"/>
                    <a:ext cx="167760" cy="6120"/>
                  </p14:xfrm>
                </p:contentPart>
              </mc:Choice>
              <mc:Fallback xmlns="">
                <p:pic>
                  <p:nvPicPr>
                    <p:cNvPr id="796" name="Input penna 795">
                      <a:extLst>
                        <a:ext uri="{FF2B5EF4-FFF2-40B4-BE49-F238E27FC236}">
                          <a16:creationId xmlns:a16="http://schemas.microsoft.com/office/drawing/2014/main" id="{82E5B9F4-312C-476A-2700-E8600211423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6"/>
                    <a:stretch>
                      <a:fillRect/>
                    </a:stretch>
                  </p:blipFill>
                  <p:spPr>
                    <a:xfrm>
                      <a:off x="6110398" y="3461436"/>
                      <a:ext cx="177776" cy="1661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7">
                  <p14:nvContentPartPr>
                    <p14:cNvPr id="797" name="Input penna 796">
                      <a:extLst>
                        <a:ext uri="{FF2B5EF4-FFF2-40B4-BE49-F238E27FC236}">
                          <a16:creationId xmlns:a16="http://schemas.microsoft.com/office/drawing/2014/main" id="{31E48C5B-BEB7-4E11-C0DC-1129CA6F2BE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43126" y="3220802"/>
                    <a:ext cx="7200" cy="256320"/>
                  </p14:xfrm>
                </p:contentPart>
              </mc:Choice>
              <mc:Fallback xmlns="">
                <p:pic>
                  <p:nvPicPr>
                    <p:cNvPr id="797" name="Input penna 796">
                      <a:extLst>
                        <a:ext uri="{FF2B5EF4-FFF2-40B4-BE49-F238E27FC236}">
                          <a16:creationId xmlns:a16="http://schemas.microsoft.com/office/drawing/2014/main" id="{31E48C5B-BEB7-4E11-C0DC-1129CA6F2BE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8"/>
                    <a:stretch>
                      <a:fillRect/>
                    </a:stretch>
                  </p:blipFill>
                  <p:spPr>
                    <a:xfrm>
                      <a:off x="6138044" y="3215792"/>
                      <a:ext cx="17365" cy="2663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9">
                  <p14:nvContentPartPr>
                    <p14:cNvPr id="798" name="Input penna 797">
                      <a:extLst>
                        <a:ext uri="{FF2B5EF4-FFF2-40B4-BE49-F238E27FC236}">
                          <a16:creationId xmlns:a16="http://schemas.microsoft.com/office/drawing/2014/main" id="{0598E64D-4DA5-1F6F-CC04-8BD7F2C534C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67246" y="3231602"/>
                    <a:ext cx="17280" cy="258480"/>
                  </p14:xfrm>
                </p:contentPart>
              </mc:Choice>
              <mc:Fallback xmlns="">
                <p:pic>
                  <p:nvPicPr>
                    <p:cNvPr id="798" name="Input penna 797">
                      <a:extLst>
                        <a:ext uri="{FF2B5EF4-FFF2-40B4-BE49-F238E27FC236}">
                          <a16:creationId xmlns:a16="http://schemas.microsoft.com/office/drawing/2014/main" id="{0598E64D-4DA5-1F6F-CC04-8BD7F2C534C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0"/>
                    <a:stretch>
                      <a:fillRect/>
                    </a:stretch>
                  </p:blipFill>
                  <p:spPr>
                    <a:xfrm>
                      <a:off x="6162309" y="3226591"/>
                      <a:ext cx="27154" cy="2685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1">
                  <p14:nvContentPartPr>
                    <p14:cNvPr id="799" name="Input penna 798">
                      <a:extLst>
                        <a:ext uri="{FF2B5EF4-FFF2-40B4-BE49-F238E27FC236}">
                          <a16:creationId xmlns:a16="http://schemas.microsoft.com/office/drawing/2014/main" id="{1F52D148-1828-AF61-7045-EADEAD410D1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93526" y="3210362"/>
                    <a:ext cx="11520" cy="259560"/>
                  </p14:xfrm>
                </p:contentPart>
              </mc:Choice>
              <mc:Fallback xmlns="">
                <p:pic>
                  <p:nvPicPr>
                    <p:cNvPr id="799" name="Input penna 798">
                      <a:extLst>
                        <a:ext uri="{FF2B5EF4-FFF2-40B4-BE49-F238E27FC236}">
                          <a16:creationId xmlns:a16="http://schemas.microsoft.com/office/drawing/2014/main" id="{1F52D148-1828-AF61-7045-EADEAD410D1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2"/>
                    <a:stretch>
                      <a:fillRect/>
                    </a:stretch>
                  </p:blipFill>
                  <p:spPr>
                    <a:xfrm>
                      <a:off x="6188589" y="3205354"/>
                      <a:ext cx="21394" cy="26957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3">
                  <p14:nvContentPartPr>
                    <p14:cNvPr id="800" name="Input penna 799">
                      <a:extLst>
                        <a:ext uri="{FF2B5EF4-FFF2-40B4-BE49-F238E27FC236}">
                          <a16:creationId xmlns:a16="http://schemas.microsoft.com/office/drawing/2014/main" id="{DAF49053-06FA-3BB3-A702-E9AA20000C0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23046" y="3207842"/>
                    <a:ext cx="10800" cy="265680"/>
                  </p14:xfrm>
                </p:contentPart>
              </mc:Choice>
              <mc:Fallback xmlns="">
                <p:pic>
                  <p:nvPicPr>
                    <p:cNvPr id="800" name="Input penna 799">
                      <a:extLst>
                        <a:ext uri="{FF2B5EF4-FFF2-40B4-BE49-F238E27FC236}">
                          <a16:creationId xmlns:a16="http://schemas.microsoft.com/office/drawing/2014/main" id="{DAF49053-06FA-3BB3-A702-E9AA20000C0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4"/>
                    <a:stretch>
                      <a:fillRect/>
                    </a:stretch>
                  </p:blipFill>
                  <p:spPr>
                    <a:xfrm>
                      <a:off x="6218061" y="3202829"/>
                      <a:ext cx="20769" cy="27570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5">
                  <p14:nvContentPartPr>
                    <p14:cNvPr id="801" name="Input penna 800">
                      <a:extLst>
                        <a:ext uri="{FF2B5EF4-FFF2-40B4-BE49-F238E27FC236}">
                          <a16:creationId xmlns:a16="http://schemas.microsoft.com/office/drawing/2014/main" id="{3086389D-8AA6-0C01-B38F-B15FEC74319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49686" y="3223682"/>
                    <a:ext cx="14760" cy="248760"/>
                  </p14:xfrm>
                </p:contentPart>
              </mc:Choice>
              <mc:Fallback xmlns="">
                <p:pic>
                  <p:nvPicPr>
                    <p:cNvPr id="801" name="Input penna 800">
                      <a:extLst>
                        <a:ext uri="{FF2B5EF4-FFF2-40B4-BE49-F238E27FC236}">
                          <a16:creationId xmlns:a16="http://schemas.microsoft.com/office/drawing/2014/main" id="{3086389D-8AA6-0C01-B38F-B15FEC74319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6"/>
                    <a:stretch>
                      <a:fillRect/>
                    </a:stretch>
                  </p:blipFill>
                  <p:spPr>
                    <a:xfrm>
                      <a:off x="6244625" y="3218682"/>
                      <a:ext cx="24881" cy="2587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7">
                  <p14:nvContentPartPr>
                    <p14:cNvPr id="802" name="Input penna 801">
                      <a:extLst>
                        <a:ext uri="{FF2B5EF4-FFF2-40B4-BE49-F238E27FC236}">
                          <a16:creationId xmlns:a16="http://schemas.microsoft.com/office/drawing/2014/main" id="{BAC3957C-D462-9803-7B58-3D81BF3FA4D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82806" y="3223322"/>
                    <a:ext cx="11160" cy="261000"/>
                  </p14:xfrm>
                </p:contentPart>
              </mc:Choice>
              <mc:Fallback xmlns="">
                <p:pic>
                  <p:nvPicPr>
                    <p:cNvPr id="802" name="Input penna 801">
                      <a:extLst>
                        <a:ext uri="{FF2B5EF4-FFF2-40B4-BE49-F238E27FC236}">
                          <a16:creationId xmlns:a16="http://schemas.microsoft.com/office/drawing/2014/main" id="{BAC3957C-D462-9803-7B58-3D81BF3FA4D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8"/>
                    <a:stretch>
                      <a:fillRect/>
                    </a:stretch>
                  </p:blipFill>
                  <p:spPr>
                    <a:xfrm>
                      <a:off x="6277655" y="3218311"/>
                      <a:ext cx="21462" cy="27102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9">
                  <p14:nvContentPartPr>
                    <p14:cNvPr id="803" name="Input penna 802">
                      <a:extLst>
                        <a:ext uri="{FF2B5EF4-FFF2-40B4-BE49-F238E27FC236}">
                          <a16:creationId xmlns:a16="http://schemas.microsoft.com/office/drawing/2014/main" id="{F2368F53-FA60-D316-149C-359ED8E4D02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08046" y="3566042"/>
                    <a:ext cx="11520" cy="210240"/>
                  </p14:xfrm>
                </p:contentPart>
              </mc:Choice>
              <mc:Fallback xmlns="">
                <p:pic>
                  <p:nvPicPr>
                    <p:cNvPr id="803" name="Input penna 802">
                      <a:extLst>
                        <a:ext uri="{FF2B5EF4-FFF2-40B4-BE49-F238E27FC236}">
                          <a16:creationId xmlns:a16="http://schemas.microsoft.com/office/drawing/2014/main" id="{F2368F53-FA60-D316-149C-359ED8E4D02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0"/>
                    <a:stretch>
                      <a:fillRect/>
                    </a:stretch>
                  </p:blipFill>
                  <p:spPr>
                    <a:xfrm>
                      <a:off x="5903109" y="3561036"/>
                      <a:ext cx="21394" cy="2202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1">
                  <p14:nvContentPartPr>
                    <p14:cNvPr id="804" name="Input penna 803">
                      <a:extLst>
                        <a:ext uri="{FF2B5EF4-FFF2-40B4-BE49-F238E27FC236}">
                          <a16:creationId xmlns:a16="http://schemas.microsoft.com/office/drawing/2014/main" id="{0B82011F-CF6F-2F30-5C01-EF4CFCFFDD0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35766" y="3566402"/>
                    <a:ext cx="12960" cy="186840"/>
                  </p14:xfrm>
                </p:contentPart>
              </mc:Choice>
              <mc:Fallback xmlns="">
                <p:pic>
                  <p:nvPicPr>
                    <p:cNvPr id="804" name="Input penna 803">
                      <a:extLst>
                        <a:ext uri="{FF2B5EF4-FFF2-40B4-BE49-F238E27FC236}">
                          <a16:creationId xmlns:a16="http://schemas.microsoft.com/office/drawing/2014/main" id="{0B82011F-CF6F-2F30-5C01-EF4CFCFFDD0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2"/>
                    <a:stretch>
                      <a:fillRect/>
                    </a:stretch>
                  </p:blipFill>
                  <p:spPr>
                    <a:xfrm>
                      <a:off x="5930749" y="3561397"/>
                      <a:ext cx="22994" cy="19684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3">
                  <p14:nvContentPartPr>
                    <p14:cNvPr id="805" name="Input penna 804">
                      <a:extLst>
                        <a:ext uri="{FF2B5EF4-FFF2-40B4-BE49-F238E27FC236}">
                          <a16:creationId xmlns:a16="http://schemas.microsoft.com/office/drawing/2014/main" id="{23F19FB9-07A5-9BCC-96DA-F4562292F4A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72486" y="3568922"/>
                    <a:ext cx="11880" cy="213120"/>
                  </p14:xfrm>
                </p:contentPart>
              </mc:Choice>
              <mc:Fallback xmlns="">
                <p:pic>
                  <p:nvPicPr>
                    <p:cNvPr id="805" name="Input penna 804">
                      <a:extLst>
                        <a:ext uri="{FF2B5EF4-FFF2-40B4-BE49-F238E27FC236}">
                          <a16:creationId xmlns:a16="http://schemas.microsoft.com/office/drawing/2014/main" id="{23F19FB9-07A5-9BCC-96DA-F4562292F4A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4"/>
                    <a:stretch>
                      <a:fillRect/>
                    </a:stretch>
                  </p:blipFill>
                  <p:spPr>
                    <a:xfrm>
                      <a:off x="5967570" y="3563917"/>
                      <a:ext cx="21712" cy="22313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5">
                  <p14:nvContentPartPr>
                    <p14:cNvPr id="806" name="Input penna 805">
                      <a:extLst>
                        <a:ext uri="{FF2B5EF4-FFF2-40B4-BE49-F238E27FC236}">
                          <a16:creationId xmlns:a16="http://schemas.microsoft.com/office/drawing/2014/main" id="{E442407C-8670-1C23-64DB-1BD74CBE489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95526" y="3572522"/>
                    <a:ext cx="7560" cy="189360"/>
                  </p14:xfrm>
                </p:contentPart>
              </mc:Choice>
              <mc:Fallback xmlns="">
                <p:pic>
                  <p:nvPicPr>
                    <p:cNvPr id="806" name="Input penna 805">
                      <a:extLst>
                        <a:ext uri="{FF2B5EF4-FFF2-40B4-BE49-F238E27FC236}">
                          <a16:creationId xmlns:a16="http://schemas.microsoft.com/office/drawing/2014/main" id="{E442407C-8670-1C23-64DB-1BD74CBE489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6"/>
                    <a:stretch>
                      <a:fillRect/>
                    </a:stretch>
                  </p:blipFill>
                  <p:spPr>
                    <a:xfrm>
                      <a:off x="5990486" y="3567517"/>
                      <a:ext cx="17640" cy="19937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7">
                  <p14:nvContentPartPr>
                    <p14:cNvPr id="807" name="Input penna 806">
                      <a:extLst>
                        <a:ext uri="{FF2B5EF4-FFF2-40B4-BE49-F238E27FC236}">
                          <a16:creationId xmlns:a16="http://schemas.microsoft.com/office/drawing/2014/main" id="{6794143A-62AE-1D60-A513-1F035C22EE4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22166" y="3575762"/>
                    <a:ext cx="9000" cy="175680"/>
                  </p14:xfrm>
                </p:contentPart>
              </mc:Choice>
              <mc:Fallback xmlns="">
                <p:pic>
                  <p:nvPicPr>
                    <p:cNvPr id="807" name="Input penna 806">
                      <a:extLst>
                        <a:ext uri="{FF2B5EF4-FFF2-40B4-BE49-F238E27FC236}">
                          <a16:creationId xmlns:a16="http://schemas.microsoft.com/office/drawing/2014/main" id="{6794143A-62AE-1D60-A513-1F035C22EE4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8"/>
                    <a:stretch>
                      <a:fillRect/>
                    </a:stretch>
                  </p:blipFill>
                  <p:spPr>
                    <a:xfrm>
                      <a:off x="6017257" y="3570754"/>
                      <a:ext cx="18818" cy="18569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9">
                  <p14:nvContentPartPr>
                    <p14:cNvPr id="808" name="Input penna 807">
                      <a:extLst>
                        <a:ext uri="{FF2B5EF4-FFF2-40B4-BE49-F238E27FC236}">
                          <a16:creationId xmlns:a16="http://schemas.microsoft.com/office/drawing/2014/main" id="{4CEBACAE-E5E1-2367-B7DD-3F1C01D12D0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45926" y="3578642"/>
                    <a:ext cx="6120" cy="175680"/>
                  </p14:xfrm>
                </p:contentPart>
              </mc:Choice>
              <mc:Fallback xmlns="">
                <p:pic>
                  <p:nvPicPr>
                    <p:cNvPr id="808" name="Input penna 807">
                      <a:extLst>
                        <a:ext uri="{FF2B5EF4-FFF2-40B4-BE49-F238E27FC236}">
                          <a16:creationId xmlns:a16="http://schemas.microsoft.com/office/drawing/2014/main" id="{4CEBACAE-E5E1-2367-B7DD-3F1C01D12D0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0"/>
                    <a:stretch>
                      <a:fillRect/>
                    </a:stretch>
                  </p:blipFill>
                  <p:spPr>
                    <a:xfrm>
                      <a:off x="6041336" y="3573634"/>
                      <a:ext cx="15300" cy="18569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1">
                  <p14:nvContentPartPr>
                    <p14:cNvPr id="809" name="Input penna 808">
                      <a:extLst>
                        <a:ext uri="{FF2B5EF4-FFF2-40B4-BE49-F238E27FC236}">
                          <a16:creationId xmlns:a16="http://schemas.microsoft.com/office/drawing/2014/main" id="{3E704917-BE37-A68E-72EE-C11C6A7BB54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72206" y="3567482"/>
                    <a:ext cx="14040" cy="205560"/>
                  </p14:xfrm>
                </p:contentPart>
              </mc:Choice>
              <mc:Fallback xmlns="">
                <p:pic>
                  <p:nvPicPr>
                    <p:cNvPr id="809" name="Input penna 808">
                      <a:extLst>
                        <a:ext uri="{FF2B5EF4-FFF2-40B4-BE49-F238E27FC236}">
                          <a16:creationId xmlns:a16="http://schemas.microsoft.com/office/drawing/2014/main" id="{3E704917-BE37-A68E-72EE-C11C6A7BB54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2"/>
                    <a:stretch>
                      <a:fillRect/>
                    </a:stretch>
                  </p:blipFill>
                  <p:spPr>
                    <a:xfrm>
                      <a:off x="6067251" y="3562468"/>
                      <a:ext cx="23951" cy="21558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3">
                  <p14:nvContentPartPr>
                    <p14:cNvPr id="810" name="Input penna 809">
                      <a:extLst>
                        <a:ext uri="{FF2B5EF4-FFF2-40B4-BE49-F238E27FC236}">
                          <a16:creationId xmlns:a16="http://schemas.microsoft.com/office/drawing/2014/main" id="{87F49171-E75E-1DEC-201D-0DD61E3A506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6686" y="3572522"/>
                    <a:ext cx="19440" cy="196920"/>
                  </p14:xfrm>
                </p:contentPart>
              </mc:Choice>
              <mc:Fallback xmlns="">
                <p:pic>
                  <p:nvPicPr>
                    <p:cNvPr id="810" name="Input penna 809">
                      <a:extLst>
                        <a:ext uri="{FF2B5EF4-FFF2-40B4-BE49-F238E27FC236}">
                          <a16:creationId xmlns:a16="http://schemas.microsoft.com/office/drawing/2014/main" id="{87F49171-E75E-1DEC-201D-0DD61E3A506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4"/>
                    <a:stretch>
                      <a:fillRect/>
                    </a:stretch>
                  </p:blipFill>
                  <p:spPr>
                    <a:xfrm>
                      <a:off x="6091826" y="3567516"/>
                      <a:ext cx="29160" cy="2069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5">
                  <p14:nvContentPartPr>
                    <p14:cNvPr id="811" name="Input penna 810">
                      <a:extLst>
                        <a:ext uri="{FF2B5EF4-FFF2-40B4-BE49-F238E27FC236}">
                          <a16:creationId xmlns:a16="http://schemas.microsoft.com/office/drawing/2014/main" id="{D1E7395E-7750-02A5-FEC6-943618984F2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31606" y="3560282"/>
                    <a:ext cx="18360" cy="204480"/>
                  </p14:xfrm>
                </p:contentPart>
              </mc:Choice>
              <mc:Fallback xmlns="">
                <p:pic>
                  <p:nvPicPr>
                    <p:cNvPr id="811" name="Input penna 810">
                      <a:extLst>
                        <a:ext uri="{FF2B5EF4-FFF2-40B4-BE49-F238E27FC236}">
                          <a16:creationId xmlns:a16="http://schemas.microsoft.com/office/drawing/2014/main" id="{D1E7395E-7750-02A5-FEC6-943618984F2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6"/>
                    <a:stretch>
                      <a:fillRect/>
                    </a:stretch>
                  </p:blipFill>
                  <p:spPr>
                    <a:xfrm>
                      <a:off x="6126599" y="3555264"/>
                      <a:ext cx="28375" cy="2145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7">
                  <p14:nvContentPartPr>
                    <p14:cNvPr id="812" name="Input penna 811">
                      <a:extLst>
                        <a:ext uri="{FF2B5EF4-FFF2-40B4-BE49-F238E27FC236}">
                          <a16:creationId xmlns:a16="http://schemas.microsoft.com/office/drawing/2014/main" id="{9F724941-E0CB-F684-7493-602A8602447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69886" y="3626522"/>
                    <a:ext cx="318240" cy="5040"/>
                  </p14:xfrm>
                </p:contentPart>
              </mc:Choice>
              <mc:Fallback xmlns="">
                <p:pic>
                  <p:nvPicPr>
                    <p:cNvPr id="812" name="Input penna 811">
                      <a:extLst>
                        <a:ext uri="{FF2B5EF4-FFF2-40B4-BE49-F238E27FC236}">
                          <a16:creationId xmlns:a16="http://schemas.microsoft.com/office/drawing/2014/main" id="{9F724941-E0CB-F684-7493-602A8602447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8"/>
                    <a:stretch>
                      <a:fillRect/>
                    </a:stretch>
                  </p:blipFill>
                  <p:spPr>
                    <a:xfrm>
                      <a:off x="5864868" y="3621870"/>
                      <a:ext cx="328276" cy="1434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9">
                  <p14:nvContentPartPr>
                    <p14:cNvPr id="813" name="Input penna 812">
                      <a:extLst>
                        <a:ext uri="{FF2B5EF4-FFF2-40B4-BE49-F238E27FC236}">
                          <a16:creationId xmlns:a16="http://schemas.microsoft.com/office/drawing/2014/main" id="{B3BBDD75-57D6-BBDD-860A-2B555F38D1B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89326" y="3660722"/>
                    <a:ext cx="308520" cy="2520"/>
                  </p14:xfrm>
                </p:contentPart>
              </mc:Choice>
              <mc:Fallback xmlns="">
                <p:pic>
                  <p:nvPicPr>
                    <p:cNvPr id="813" name="Input penna 812">
                      <a:extLst>
                        <a:ext uri="{FF2B5EF4-FFF2-40B4-BE49-F238E27FC236}">
                          <a16:creationId xmlns:a16="http://schemas.microsoft.com/office/drawing/2014/main" id="{B3BBDD75-57D6-BBDD-860A-2B555F38D1B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0"/>
                    <a:stretch>
                      <a:fillRect/>
                    </a:stretch>
                  </p:blipFill>
                  <p:spPr>
                    <a:xfrm>
                      <a:off x="5884316" y="3655682"/>
                      <a:ext cx="318540" cy="126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1">
                  <p14:nvContentPartPr>
                    <p14:cNvPr id="814" name="Input penna 813">
                      <a:extLst>
                        <a:ext uri="{FF2B5EF4-FFF2-40B4-BE49-F238E27FC236}">
                          <a16:creationId xmlns:a16="http://schemas.microsoft.com/office/drawing/2014/main" id="{CD932544-24E8-0B94-DB82-BA861B3D362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81406" y="3691322"/>
                    <a:ext cx="272160" cy="17640"/>
                  </p14:xfrm>
                </p:contentPart>
              </mc:Choice>
              <mc:Fallback xmlns="">
                <p:pic>
                  <p:nvPicPr>
                    <p:cNvPr id="814" name="Input penna 813">
                      <a:extLst>
                        <a:ext uri="{FF2B5EF4-FFF2-40B4-BE49-F238E27FC236}">
                          <a16:creationId xmlns:a16="http://schemas.microsoft.com/office/drawing/2014/main" id="{CD932544-24E8-0B94-DB82-BA861B3D362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2"/>
                    <a:stretch>
                      <a:fillRect/>
                    </a:stretch>
                  </p:blipFill>
                  <p:spPr>
                    <a:xfrm>
                      <a:off x="5876397" y="3686399"/>
                      <a:ext cx="282178" cy="2748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3">
                  <p14:nvContentPartPr>
                    <p14:cNvPr id="815" name="Input penna 814">
                      <a:extLst>
                        <a:ext uri="{FF2B5EF4-FFF2-40B4-BE49-F238E27FC236}">
                          <a16:creationId xmlns:a16="http://schemas.microsoft.com/office/drawing/2014/main" id="{2FEEDF15-FE79-C38C-13E1-5054490EBDD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76006" y="3737402"/>
                    <a:ext cx="274320" cy="8280"/>
                  </p14:xfrm>
                </p:contentPart>
              </mc:Choice>
              <mc:Fallback xmlns="">
                <p:pic>
                  <p:nvPicPr>
                    <p:cNvPr id="815" name="Input penna 814">
                      <a:extLst>
                        <a:ext uri="{FF2B5EF4-FFF2-40B4-BE49-F238E27FC236}">
                          <a16:creationId xmlns:a16="http://schemas.microsoft.com/office/drawing/2014/main" id="{2FEEDF15-FE79-C38C-13E1-5054490EBDD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4"/>
                    <a:stretch>
                      <a:fillRect/>
                    </a:stretch>
                  </p:blipFill>
                  <p:spPr>
                    <a:xfrm>
                      <a:off x="5870996" y="3732434"/>
                      <a:ext cx="284341" cy="182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5">
                  <p14:nvContentPartPr>
                    <p14:cNvPr id="816" name="Input penna 815">
                      <a:extLst>
                        <a:ext uri="{FF2B5EF4-FFF2-40B4-BE49-F238E27FC236}">
                          <a16:creationId xmlns:a16="http://schemas.microsoft.com/office/drawing/2014/main" id="{167D3F79-A0AE-3691-6764-AB05C34F983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22366" y="3262562"/>
                    <a:ext cx="13680" cy="215640"/>
                  </p14:xfrm>
                </p:contentPart>
              </mc:Choice>
              <mc:Fallback xmlns="">
                <p:pic>
                  <p:nvPicPr>
                    <p:cNvPr id="816" name="Input penna 815">
                      <a:extLst>
                        <a:ext uri="{FF2B5EF4-FFF2-40B4-BE49-F238E27FC236}">
                          <a16:creationId xmlns:a16="http://schemas.microsoft.com/office/drawing/2014/main" id="{167D3F79-A0AE-3691-6764-AB05C34F983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6"/>
                    <a:stretch>
                      <a:fillRect/>
                    </a:stretch>
                  </p:blipFill>
                  <p:spPr>
                    <a:xfrm>
                      <a:off x="5817236" y="3257557"/>
                      <a:ext cx="23940" cy="2256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7">
                  <p14:nvContentPartPr>
                    <p14:cNvPr id="817" name="Input penna 816">
                      <a:extLst>
                        <a:ext uri="{FF2B5EF4-FFF2-40B4-BE49-F238E27FC236}">
                          <a16:creationId xmlns:a16="http://schemas.microsoft.com/office/drawing/2014/main" id="{9AA8A80C-DA86-7AA0-E7E3-6BD50E9CD6C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68246" y="3242762"/>
                    <a:ext cx="5040" cy="202320"/>
                  </p14:xfrm>
                </p:contentPart>
              </mc:Choice>
              <mc:Fallback xmlns="">
                <p:pic>
                  <p:nvPicPr>
                    <p:cNvPr id="817" name="Input penna 816">
                      <a:extLst>
                        <a:ext uri="{FF2B5EF4-FFF2-40B4-BE49-F238E27FC236}">
                          <a16:creationId xmlns:a16="http://schemas.microsoft.com/office/drawing/2014/main" id="{9AA8A80C-DA86-7AA0-E7E3-6BD50E9CD6C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8"/>
                    <a:stretch>
                      <a:fillRect/>
                    </a:stretch>
                  </p:blipFill>
                  <p:spPr>
                    <a:xfrm>
                      <a:off x="6063206" y="3237756"/>
                      <a:ext cx="15120" cy="21233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9">
                  <p14:nvContentPartPr>
                    <p14:cNvPr id="818" name="Input penna 817">
                      <a:extLst>
                        <a:ext uri="{FF2B5EF4-FFF2-40B4-BE49-F238E27FC236}">
                          <a16:creationId xmlns:a16="http://schemas.microsoft.com/office/drawing/2014/main" id="{C46C5A25-A954-5E04-496A-95C5C8B54A6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32086" y="3464522"/>
                    <a:ext cx="221400" cy="10440"/>
                  </p14:xfrm>
                </p:contentPart>
              </mc:Choice>
              <mc:Fallback xmlns="">
                <p:pic>
                  <p:nvPicPr>
                    <p:cNvPr id="818" name="Input penna 817">
                      <a:extLst>
                        <a:ext uri="{FF2B5EF4-FFF2-40B4-BE49-F238E27FC236}">
                          <a16:creationId xmlns:a16="http://schemas.microsoft.com/office/drawing/2014/main" id="{C46C5A25-A954-5E04-496A-95C5C8B54A6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0"/>
                    <a:stretch>
                      <a:fillRect/>
                    </a:stretch>
                  </p:blipFill>
                  <p:spPr>
                    <a:xfrm>
                      <a:off x="5827073" y="3459511"/>
                      <a:ext cx="231426" cy="204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1">
                  <p14:nvContentPartPr>
                    <p14:cNvPr id="819" name="Input penna 818">
                      <a:extLst>
                        <a:ext uri="{FF2B5EF4-FFF2-40B4-BE49-F238E27FC236}">
                          <a16:creationId xmlns:a16="http://schemas.microsoft.com/office/drawing/2014/main" id="{F5B53FCA-00EB-4458-A7DF-54C2F88C944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11566" y="3247082"/>
                    <a:ext cx="263160" cy="6840"/>
                  </p14:xfrm>
                </p:contentPart>
              </mc:Choice>
              <mc:Fallback xmlns="">
                <p:pic>
                  <p:nvPicPr>
                    <p:cNvPr id="819" name="Input penna 818">
                      <a:extLst>
                        <a:ext uri="{FF2B5EF4-FFF2-40B4-BE49-F238E27FC236}">
                          <a16:creationId xmlns:a16="http://schemas.microsoft.com/office/drawing/2014/main" id="{F5B53FCA-00EB-4458-A7DF-54C2F88C944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2"/>
                    <a:stretch>
                      <a:fillRect/>
                    </a:stretch>
                  </p:blipFill>
                  <p:spPr>
                    <a:xfrm>
                      <a:off x="5806553" y="3242254"/>
                      <a:ext cx="273185" cy="1649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3">
                  <p14:nvContentPartPr>
                    <p14:cNvPr id="820" name="Input penna 819">
                      <a:extLst>
                        <a:ext uri="{FF2B5EF4-FFF2-40B4-BE49-F238E27FC236}">
                          <a16:creationId xmlns:a16="http://schemas.microsoft.com/office/drawing/2014/main" id="{154D4BCD-230E-FE9F-D826-E2628331AFC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84446" y="3257522"/>
                    <a:ext cx="720" cy="5400"/>
                  </p14:xfrm>
                </p:contentPart>
              </mc:Choice>
              <mc:Fallback xmlns="">
                <p:pic>
                  <p:nvPicPr>
                    <p:cNvPr id="820" name="Input penna 819">
                      <a:extLst>
                        <a:ext uri="{FF2B5EF4-FFF2-40B4-BE49-F238E27FC236}">
                          <a16:creationId xmlns:a16="http://schemas.microsoft.com/office/drawing/2014/main" id="{154D4BCD-230E-FE9F-D826-E2628331AFC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4"/>
                    <a:stretch>
                      <a:fillRect/>
                    </a:stretch>
                  </p:blipFill>
                  <p:spPr>
                    <a:xfrm>
                      <a:off x="6080126" y="3252537"/>
                      <a:ext cx="9360" cy="153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5">
                  <p14:nvContentPartPr>
                    <p14:cNvPr id="821" name="Input penna 820">
                      <a:extLst>
                        <a:ext uri="{FF2B5EF4-FFF2-40B4-BE49-F238E27FC236}">
                          <a16:creationId xmlns:a16="http://schemas.microsoft.com/office/drawing/2014/main" id="{6C97EA96-BEA9-FBCC-4152-5A6604DE0FB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86246" y="3255362"/>
                    <a:ext cx="9000" cy="183600"/>
                  </p14:xfrm>
                </p:contentPart>
              </mc:Choice>
              <mc:Fallback xmlns="">
                <p:pic>
                  <p:nvPicPr>
                    <p:cNvPr id="821" name="Input penna 820">
                      <a:extLst>
                        <a:ext uri="{FF2B5EF4-FFF2-40B4-BE49-F238E27FC236}">
                          <a16:creationId xmlns:a16="http://schemas.microsoft.com/office/drawing/2014/main" id="{6C97EA96-BEA9-FBCC-4152-5A6604DE0FB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6"/>
                    <a:stretch>
                      <a:fillRect/>
                    </a:stretch>
                  </p:blipFill>
                  <p:spPr>
                    <a:xfrm>
                      <a:off x="6081103" y="3250355"/>
                      <a:ext cx="19286" cy="1936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7">
                  <p14:nvContentPartPr>
                    <p14:cNvPr id="822" name="Input penna 821">
                      <a:extLst>
                        <a:ext uri="{FF2B5EF4-FFF2-40B4-BE49-F238E27FC236}">
                          <a16:creationId xmlns:a16="http://schemas.microsoft.com/office/drawing/2014/main" id="{82B07485-E16A-B2A9-86B0-396F5CEABA5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03166" y="3265802"/>
                    <a:ext cx="5760" cy="185040"/>
                  </p14:xfrm>
                </p:contentPart>
              </mc:Choice>
              <mc:Fallback xmlns="">
                <p:pic>
                  <p:nvPicPr>
                    <p:cNvPr id="822" name="Input penna 821">
                      <a:extLst>
                        <a:ext uri="{FF2B5EF4-FFF2-40B4-BE49-F238E27FC236}">
                          <a16:creationId xmlns:a16="http://schemas.microsoft.com/office/drawing/2014/main" id="{82B07485-E16A-B2A9-86B0-396F5CEABA5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8"/>
                    <a:stretch>
                      <a:fillRect/>
                    </a:stretch>
                  </p:blipFill>
                  <p:spPr>
                    <a:xfrm>
                      <a:off x="6098229" y="3260790"/>
                      <a:ext cx="15634" cy="19506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9">
                  <p14:nvContentPartPr>
                    <p14:cNvPr id="823" name="Input penna 822">
                      <a:extLst>
                        <a:ext uri="{FF2B5EF4-FFF2-40B4-BE49-F238E27FC236}">
                          <a16:creationId xmlns:a16="http://schemas.microsoft.com/office/drawing/2014/main" id="{81C47CF0-4F7A-F85B-BBFF-6535FD9BB1F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85526" y="3434282"/>
                    <a:ext cx="27720" cy="2880"/>
                  </p14:xfrm>
                </p:contentPart>
              </mc:Choice>
              <mc:Fallback xmlns="">
                <p:pic>
                  <p:nvPicPr>
                    <p:cNvPr id="823" name="Input penna 822">
                      <a:extLst>
                        <a:ext uri="{FF2B5EF4-FFF2-40B4-BE49-F238E27FC236}">
                          <a16:creationId xmlns:a16="http://schemas.microsoft.com/office/drawing/2014/main" id="{81C47CF0-4F7A-F85B-BBFF-6535FD9BB1F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0"/>
                    <a:stretch>
                      <a:fillRect/>
                    </a:stretch>
                  </p:blipFill>
                  <p:spPr>
                    <a:xfrm>
                      <a:off x="6080561" y="3429345"/>
                      <a:ext cx="37650" cy="1275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1">
                  <p14:nvContentPartPr>
                    <p14:cNvPr id="824" name="Input penna 823">
                      <a:extLst>
                        <a:ext uri="{FF2B5EF4-FFF2-40B4-BE49-F238E27FC236}">
                          <a16:creationId xmlns:a16="http://schemas.microsoft.com/office/drawing/2014/main" id="{ADA77F37-7BA5-441A-BED6-C4154168935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2726" y="3398642"/>
                    <a:ext cx="16560" cy="10800"/>
                  </p14:xfrm>
                </p:contentPart>
              </mc:Choice>
              <mc:Fallback xmlns="">
                <p:pic>
                  <p:nvPicPr>
                    <p:cNvPr id="824" name="Input penna 823">
                      <a:extLst>
                        <a:ext uri="{FF2B5EF4-FFF2-40B4-BE49-F238E27FC236}">
                          <a16:creationId xmlns:a16="http://schemas.microsoft.com/office/drawing/2014/main" id="{ADA77F37-7BA5-441A-BED6-C4154168935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2"/>
                    <a:stretch>
                      <a:fillRect/>
                    </a:stretch>
                  </p:blipFill>
                  <p:spPr>
                    <a:xfrm>
                      <a:off x="6087758" y="3393842"/>
                      <a:ext cx="26496" cy="204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3">
                  <p14:nvContentPartPr>
                    <p14:cNvPr id="825" name="Input penna 824">
                      <a:extLst>
                        <a:ext uri="{FF2B5EF4-FFF2-40B4-BE49-F238E27FC236}">
                          <a16:creationId xmlns:a16="http://schemas.microsoft.com/office/drawing/2014/main" id="{EB43DF03-9AAF-E59E-69BE-6354BE6557C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88766" y="3370922"/>
                    <a:ext cx="19440" cy="6480"/>
                  </p14:xfrm>
                </p:contentPart>
              </mc:Choice>
              <mc:Fallback xmlns="">
                <p:pic>
                  <p:nvPicPr>
                    <p:cNvPr id="825" name="Input penna 824">
                      <a:extLst>
                        <a:ext uri="{FF2B5EF4-FFF2-40B4-BE49-F238E27FC236}">
                          <a16:creationId xmlns:a16="http://schemas.microsoft.com/office/drawing/2014/main" id="{EB43DF03-9AAF-E59E-69BE-6354BE6557C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4"/>
                    <a:stretch>
                      <a:fillRect/>
                    </a:stretch>
                  </p:blipFill>
                  <p:spPr>
                    <a:xfrm>
                      <a:off x="6083803" y="3365738"/>
                      <a:ext cx="29367" cy="1684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5">
                  <p14:nvContentPartPr>
                    <p14:cNvPr id="826" name="Input penna 825">
                      <a:extLst>
                        <a:ext uri="{FF2B5EF4-FFF2-40B4-BE49-F238E27FC236}">
                          <a16:creationId xmlns:a16="http://schemas.microsoft.com/office/drawing/2014/main" id="{ADB23413-965E-FCD4-1237-B068473E280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3806" y="3337802"/>
                    <a:ext cx="12960" cy="2520"/>
                  </p14:xfrm>
                </p:contentPart>
              </mc:Choice>
              <mc:Fallback xmlns="">
                <p:pic>
                  <p:nvPicPr>
                    <p:cNvPr id="826" name="Input penna 825">
                      <a:extLst>
                        <a:ext uri="{FF2B5EF4-FFF2-40B4-BE49-F238E27FC236}">
                          <a16:creationId xmlns:a16="http://schemas.microsoft.com/office/drawing/2014/main" id="{ADB23413-965E-FCD4-1237-B068473E280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6"/>
                    <a:stretch>
                      <a:fillRect/>
                    </a:stretch>
                  </p:blipFill>
                  <p:spPr>
                    <a:xfrm>
                      <a:off x="6088622" y="3332762"/>
                      <a:ext cx="23328" cy="126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7">
                  <p14:nvContentPartPr>
                    <p14:cNvPr id="827" name="Input penna 826">
                      <a:extLst>
                        <a:ext uri="{FF2B5EF4-FFF2-40B4-BE49-F238E27FC236}">
                          <a16:creationId xmlns:a16="http://schemas.microsoft.com/office/drawing/2014/main" id="{ABCE4895-8F3E-A344-7C9C-594A82B947D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2006" y="3304682"/>
                    <a:ext cx="15480" cy="6840"/>
                  </p14:xfrm>
                </p:contentPart>
              </mc:Choice>
              <mc:Fallback xmlns="">
                <p:pic>
                  <p:nvPicPr>
                    <p:cNvPr id="827" name="Input penna 826">
                      <a:extLst>
                        <a:ext uri="{FF2B5EF4-FFF2-40B4-BE49-F238E27FC236}">
                          <a16:creationId xmlns:a16="http://schemas.microsoft.com/office/drawing/2014/main" id="{ABCE4895-8F3E-A344-7C9C-594A82B947D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8"/>
                    <a:stretch>
                      <a:fillRect/>
                    </a:stretch>
                  </p:blipFill>
                  <p:spPr>
                    <a:xfrm>
                      <a:off x="6086985" y="3299552"/>
                      <a:ext cx="25521" cy="171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9">
                  <p14:nvContentPartPr>
                    <p14:cNvPr id="828" name="Input penna 827">
                      <a:extLst>
                        <a:ext uri="{FF2B5EF4-FFF2-40B4-BE49-F238E27FC236}">
                          <a16:creationId xmlns:a16="http://schemas.microsoft.com/office/drawing/2014/main" id="{238C2F19-1A19-C543-9202-40FB9B6A82E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1286" y="3271202"/>
                    <a:ext cx="12240" cy="3240"/>
                  </p14:xfrm>
                </p:contentPart>
              </mc:Choice>
              <mc:Fallback xmlns="">
                <p:pic>
                  <p:nvPicPr>
                    <p:cNvPr id="828" name="Input penna 827">
                      <a:extLst>
                        <a:ext uri="{FF2B5EF4-FFF2-40B4-BE49-F238E27FC236}">
                          <a16:creationId xmlns:a16="http://schemas.microsoft.com/office/drawing/2014/main" id="{238C2F19-1A19-C543-9202-40FB9B6A82E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0"/>
                    <a:stretch>
                      <a:fillRect/>
                    </a:stretch>
                  </p:blipFill>
                  <p:spPr>
                    <a:xfrm>
                      <a:off x="6086221" y="3266342"/>
                      <a:ext cx="22370" cy="129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1">
                  <p14:nvContentPartPr>
                    <p14:cNvPr id="829" name="Input penna 828">
                      <a:extLst>
                        <a:ext uri="{FF2B5EF4-FFF2-40B4-BE49-F238E27FC236}">
                          <a16:creationId xmlns:a16="http://schemas.microsoft.com/office/drawing/2014/main" id="{3315AD94-4C45-C36E-39F1-5487A5132D8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18406" y="3490802"/>
                    <a:ext cx="234720" cy="5760"/>
                  </p14:xfrm>
                </p:contentPart>
              </mc:Choice>
              <mc:Fallback xmlns="">
                <p:pic>
                  <p:nvPicPr>
                    <p:cNvPr id="829" name="Input penna 828">
                      <a:extLst>
                        <a:ext uri="{FF2B5EF4-FFF2-40B4-BE49-F238E27FC236}">
                          <a16:creationId xmlns:a16="http://schemas.microsoft.com/office/drawing/2014/main" id="{3315AD94-4C45-C36E-39F1-5487A5132D8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2"/>
                    <a:stretch>
                      <a:fillRect/>
                    </a:stretch>
                  </p:blipFill>
                  <p:spPr>
                    <a:xfrm>
                      <a:off x="5813403" y="3485865"/>
                      <a:ext cx="244726" cy="1563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3">
                  <p14:nvContentPartPr>
                    <p14:cNvPr id="830" name="Input penna 829">
                      <a:extLst>
                        <a:ext uri="{FF2B5EF4-FFF2-40B4-BE49-F238E27FC236}">
                          <a16:creationId xmlns:a16="http://schemas.microsoft.com/office/drawing/2014/main" id="{3F3B127A-26D8-E104-552F-A4665A75400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19126" y="3490442"/>
                    <a:ext cx="5040" cy="29160"/>
                  </p14:xfrm>
                </p:contentPart>
              </mc:Choice>
              <mc:Fallback xmlns="">
                <p:pic>
                  <p:nvPicPr>
                    <p:cNvPr id="830" name="Input penna 829">
                      <a:extLst>
                        <a:ext uri="{FF2B5EF4-FFF2-40B4-BE49-F238E27FC236}">
                          <a16:creationId xmlns:a16="http://schemas.microsoft.com/office/drawing/2014/main" id="{3F3B127A-26D8-E104-552F-A4665A75400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4"/>
                    <a:stretch>
                      <a:fillRect/>
                    </a:stretch>
                  </p:blipFill>
                  <p:spPr>
                    <a:xfrm>
                      <a:off x="5814086" y="3485514"/>
                      <a:ext cx="15120" cy="3901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5">
                  <p14:nvContentPartPr>
                    <p14:cNvPr id="831" name="Input penna 830">
                      <a:extLst>
                        <a:ext uri="{FF2B5EF4-FFF2-40B4-BE49-F238E27FC236}">
                          <a16:creationId xmlns:a16="http://schemas.microsoft.com/office/drawing/2014/main" id="{FAE29064-9C99-9ED9-A5DB-FA087F5ADC6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29206" y="3500882"/>
                    <a:ext cx="232920" cy="9720"/>
                  </p14:xfrm>
                </p:contentPart>
              </mc:Choice>
              <mc:Fallback xmlns="">
                <p:pic>
                  <p:nvPicPr>
                    <p:cNvPr id="831" name="Input penna 830">
                      <a:extLst>
                        <a:ext uri="{FF2B5EF4-FFF2-40B4-BE49-F238E27FC236}">
                          <a16:creationId xmlns:a16="http://schemas.microsoft.com/office/drawing/2014/main" id="{FAE29064-9C99-9ED9-A5DB-FA087F5ADC6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6"/>
                    <a:stretch>
                      <a:fillRect/>
                    </a:stretch>
                  </p:blipFill>
                  <p:spPr>
                    <a:xfrm>
                      <a:off x="5824197" y="3495811"/>
                      <a:ext cx="242938" cy="198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7">
                  <p14:nvContentPartPr>
                    <p14:cNvPr id="832" name="Input penna 831">
                      <a:extLst>
                        <a:ext uri="{FF2B5EF4-FFF2-40B4-BE49-F238E27FC236}">
                          <a16:creationId xmlns:a16="http://schemas.microsoft.com/office/drawing/2014/main" id="{2A89BF23-1921-19B2-37B5-52A6D21E41E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45046" y="3494042"/>
                    <a:ext cx="1080" cy="22320"/>
                  </p14:xfrm>
                </p:contentPart>
              </mc:Choice>
              <mc:Fallback xmlns="">
                <p:pic>
                  <p:nvPicPr>
                    <p:cNvPr id="832" name="Input penna 831">
                      <a:extLst>
                        <a:ext uri="{FF2B5EF4-FFF2-40B4-BE49-F238E27FC236}">
                          <a16:creationId xmlns:a16="http://schemas.microsoft.com/office/drawing/2014/main" id="{2A89BF23-1921-19B2-37B5-52A6D21E41E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8"/>
                    <a:stretch>
                      <a:fillRect/>
                    </a:stretch>
                  </p:blipFill>
                  <p:spPr>
                    <a:xfrm>
                      <a:off x="5838566" y="3489082"/>
                      <a:ext cx="14040" cy="3224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9">
                  <p14:nvContentPartPr>
                    <p14:cNvPr id="833" name="Input penna 832">
                      <a:extLst>
                        <a:ext uri="{FF2B5EF4-FFF2-40B4-BE49-F238E27FC236}">
                          <a16:creationId xmlns:a16="http://schemas.microsoft.com/office/drawing/2014/main" id="{E9A8E3CD-E412-1B6E-9915-0C1AAB18EFE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75646" y="3487562"/>
                    <a:ext cx="4320" cy="29160"/>
                  </p14:xfrm>
                </p:contentPart>
              </mc:Choice>
              <mc:Fallback xmlns="">
                <p:pic>
                  <p:nvPicPr>
                    <p:cNvPr id="833" name="Input penna 832">
                      <a:extLst>
                        <a:ext uri="{FF2B5EF4-FFF2-40B4-BE49-F238E27FC236}">
                          <a16:creationId xmlns:a16="http://schemas.microsoft.com/office/drawing/2014/main" id="{E9A8E3CD-E412-1B6E-9915-0C1AAB18EFE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0"/>
                    <a:stretch>
                      <a:fillRect/>
                    </a:stretch>
                  </p:blipFill>
                  <p:spPr>
                    <a:xfrm>
                      <a:off x="5870462" y="3482563"/>
                      <a:ext cx="14688" cy="3915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1">
                  <p14:nvContentPartPr>
                    <p14:cNvPr id="834" name="Input penna 833">
                      <a:extLst>
                        <a:ext uri="{FF2B5EF4-FFF2-40B4-BE49-F238E27FC236}">
                          <a16:creationId xmlns:a16="http://schemas.microsoft.com/office/drawing/2014/main" id="{F3B17078-3E58-1575-DC75-DF72A4FC29D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20286" y="3492602"/>
                    <a:ext cx="1440" cy="19800"/>
                  </p14:xfrm>
                </p:contentPart>
              </mc:Choice>
              <mc:Fallback xmlns="">
                <p:pic>
                  <p:nvPicPr>
                    <p:cNvPr id="834" name="Input penna 833">
                      <a:extLst>
                        <a:ext uri="{FF2B5EF4-FFF2-40B4-BE49-F238E27FC236}">
                          <a16:creationId xmlns:a16="http://schemas.microsoft.com/office/drawing/2014/main" id="{F3B17078-3E58-1575-DC75-DF72A4FC29D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2"/>
                    <a:stretch>
                      <a:fillRect/>
                    </a:stretch>
                  </p:blipFill>
                  <p:spPr>
                    <a:xfrm>
                      <a:off x="5915966" y="3487652"/>
                      <a:ext cx="10080" cy="297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3">
                  <p14:nvContentPartPr>
                    <p14:cNvPr id="835" name="Input penna 834">
                      <a:extLst>
                        <a:ext uri="{FF2B5EF4-FFF2-40B4-BE49-F238E27FC236}">
                          <a16:creationId xmlns:a16="http://schemas.microsoft.com/office/drawing/2014/main" id="{12FD49BB-589E-602D-775C-30F4A55217D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50166" y="3495842"/>
                    <a:ext cx="4680" cy="14040"/>
                  </p14:xfrm>
                </p:contentPart>
              </mc:Choice>
              <mc:Fallback xmlns="">
                <p:pic>
                  <p:nvPicPr>
                    <p:cNvPr id="835" name="Input penna 834">
                      <a:extLst>
                        <a:ext uri="{FF2B5EF4-FFF2-40B4-BE49-F238E27FC236}">
                          <a16:creationId xmlns:a16="http://schemas.microsoft.com/office/drawing/2014/main" id="{12FD49BB-589E-602D-775C-30F4A55217D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4"/>
                    <a:stretch>
                      <a:fillRect/>
                    </a:stretch>
                  </p:blipFill>
                  <p:spPr>
                    <a:xfrm>
                      <a:off x="5945061" y="3490737"/>
                      <a:ext cx="14891" cy="242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5">
                  <p14:nvContentPartPr>
                    <p14:cNvPr id="836" name="Input penna 835">
                      <a:extLst>
                        <a:ext uri="{FF2B5EF4-FFF2-40B4-BE49-F238E27FC236}">
                          <a16:creationId xmlns:a16="http://schemas.microsoft.com/office/drawing/2014/main" id="{8E00DAC8-8366-43EB-26D9-0744E0F4128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89766" y="3492962"/>
                    <a:ext cx="4680" cy="9000"/>
                  </p14:xfrm>
                </p:contentPart>
              </mc:Choice>
              <mc:Fallback xmlns="">
                <p:pic>
                  <p:nvPicPr>
                    <p:cNvPr id="836" name="Input penna 835">
                      <a:extLst>
                        <a:ext uri="{FF2B5EF4-FFF2-40B4-BE49-F238E27FC236}">
                          <a16:creationId xmlns:a16="http://schemas.microsoft.com/office/drawing/2014/main" id="{8E00DAC8-8366-43EB-26D9-0744E0F4128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6"/>
                    <a:stretch>
                      <a:fillRect/>
                    </a:stretch>
                  </p:blipFill>
                  <p:spPr>
                    <a:xfrm>
                      <a:off x="5984661" y="3488053"/>
                      <a:ext cx="14891" cy="1881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7">
                  <p14:nvContentPartPr>
                    <p14:cNvPr id="837" name="Input penna 836">
                      <a:extLst>
                        <a:ext uri="{FF2B5EF4-FFF2-40B4-BE49-F238E27FC236}">
                          <a16:creationId xmlns:a16="http://schemas.microsoft.com/office/drawing/2014/main" id="{AC2DA645-5654-3E8B-A4F4-A0E8EC687DC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25766" y="3491882"/>
                    <a:ext cx="13320" cy="18360"/>
                  </p14:xfrm>
                </p:contentPart>
              </mc:Choice>
              <mc:Fallback xmlns="">
                <p:pic>
                  <p:nvPicPr>
                    <p:cNvPr id="837" name="Input penna 836">
                      <a:extLst>
                        <a:ext uri="{FF2B5EF4-FFF2-40B4-BE49-F238E27FC236}">
                          <a16:creationId xmlns:a16="http://schemas.microsoft.com/office/drawing/2014/main" id="{AC2DA645-5654-3E8B-A4F4-A0E8EC687DC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8"/>
                    <a:stretch>
                      <a:fillRect/>
                    </a:stretch>
                  </p:blipFill>
                  <p:spPr>
                    <a:xfrm>
                      <a:off x="6020771" y="3486875"/>
                      <a:ext cx="23310" cy="2837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9">
                  <p14:nvContentPartPr>
                    <p14:cNvPr id="838" name="Input penna 837">
                      <a:extLst>
                        <a:ext uri="{FF2B5EF4-FFF2-40B4-BE49-F238E27FC236}">
                          <a16:creationId xmlns:a16="http://schemas.microsoft.com/office/drawing/2014/main" id="{A935D201-C83F-3FC7-2CE4-E9611E91216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57086" y="3500522"/>
                    <a:ext cx="8280" cy="15120"/>
                  </p14:xfrm>
                </p:contentPart>
              </mc:Choice>
              <mc:Fallback xmlns="">
                <p:pic>
                  <p:nvPicPr>
                    <p:cNvPr id="838" name="Input penna 837">
                      <a:extLst>
                        <a:ext uri="{FF2B5EF4-FFF2-40B4-BE49-F238E27FC236}">
                          <a16:creationId xmlns:a16="http://schemas.microsoft.com/office/drawing/2014/main" id="{A935D201-C83F-3FC7-2CE4-E9611E91216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0"/>
                    <a:stretch>
                      <a:fillRect/>
                    </a:stretch>
                  </p:blipFill>
                  <p:spPr>
                    <a:xfrm>
                      <a:off x="6052118" y="3495618"/>
                      <a:ext cx="18216" cy="2492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1">
                  <p14:nvContentPartPr>
                    <p14:cNvPr id="839" name="Input penna 838">
                      <a:extLst>
                        <a:ext uri="{FF2B5EF4-FFF2-40B4-BE49-F238E27FC236}">
                          <a16:creationId xmlns:a16="http://schemas.microsoft.com/office/drawing/2014/main" id="{A25357FC-E884-B71E-DBC0-647D9C9840A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73206" y="3954842"/>
                    <a:ext cx="33840" cy="14040"/>
                  </p14:xfrm>
                </p:contentPart>
              </mc:Choice>
              <mc:Fallback xmlns="">
                <p:pic>
                  <p:nvPicPr>
                    <p:cNvPr id="839" name="Input penna 838">
                      <a:extLst>
                        <a:ext uri="{FF2B5EF4-FFF2-40B4-BE49-F238E27FC236}">
                          <a16:creationId xmlns:a16="http://schemas.microsoft.com/office/drawing/2014/main" id="{A25357FC-E884-B71E-DBC0-647D9C9840A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2"/>
                    <a:stretch>
                      <a:fillRect/>
                    </a:stretch>
                  </p:blipFill>
                  <p:spPr>
                    <a:xfrm>
                      <a:off x="5968193" y="3949887"/>
                      <a:ext cx="43867" cy="239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3">
                  <p14:nvContentPartPr>
                    <p14:cNvPr id="840" name="Input penna 839">
                      <a:extLst>
                        <a:ext uri="{FF2B5EF4-FFF2-40B4-BE49-F238E27FC236}">
                          <a16:creationId xmlns:a16="http://schemas.microsoft.com/office/drawing/2014/main" id="{7916A72C-C3DA-E446-7507-B89958519FD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54846" y="3937562"/>
                    <a:ext cx="40320" cy="19440"/>
                  </p14:xfrm>
                </p:contentPart>
              </mc:Choice>
              <mc:Fallback xmlns="">
                <p:pic>
                  <p:nvPicPr>
                    <p:cNvPr id="840" name="Input penna 839">
                      <a:extLst>
                        <a:ext uri="{FF2B5EF4-FFF2-40B4-BE49-F238E27FC236}">
                          <a16:creationId xmlns:a16="http://schemas.microsoft.com/office/drawing/2014/main" id="{7916A72C-C3DA-E446-7507-B89958519FD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4"/>
                    <a:stretch>
                      <a:fillRect/>
                    </a:stretch>
                  </p:blipFill>
                  <p:spPr>
                    <a:xfrm>
                      <a:off x="5949858" y="3932599"/>
                      <a:ext cx="50296" cy="2936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5">
                  <p14:nvContentPartPr>
                    <p14:cNvPr id="841" name="Input penna 840">
                      <a:extLst>
                        <a:ext uri="{FF2B5EF4-FFF2-40B4-BE49-F238E27FC236}">
                          <a16:creationId xmlns:a16="http://schemas.microsoft.com/office/drawing/2014/main" id="{BE3D3347-7DAA-4212-CE98-C60429081CB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76086" y="3964202"/>
                    <a:ext cx="5760" cy="107280"/>
                  </p14:xfrm>
                </p:contentPart>
              </mc:Choice>
              <mc:Fallback xmlns="">
                <p:pic>
                  <p:nvPicPr>
                    <p:cNvPr id="841" name="Input penna 840">
                      <a:extLst>
                        <a:ext uri="{FF2B5EF4-FFF2-40B4-BE49-F238E27FC236}">
                          <a16:creationId xmlns:a16="http://schemas.microsoft.com/office/drawing/2014/main" id="{BE3D3347-7DAA-4212-CE98-C60429081CB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6"/>
                    <a:stretch>
                      <a:fillRect/>
                    </a:stretch>
                  </p:blipFill>
                  <p:spPr>
                    <a:xfrm>
                      <a:off x="5971149" y="3959193"/>
                      <a:ext cx="15634" cy="11729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7">
                  <p14:nvContentPartPr>
                    <p14:cNvPr id="842" name="Input penna 841">
                      <a:extLst>
                        <a:ext uri="{FF2B5EF4-FFF2-40B4-BE49-F238E27FC236}">
                          <a16:creationId xmlns:a16="http://schemas.microsoft.com/office/drawing/2014/main" id="{023D4305-BC8B-001F-8891-6606654DC09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57366" y="3952682"/>
                    <a:ext cx="8280" cy="136440"/>
                  </p14:xfrm>
                </p:contentPart>
              </mc:Choice>
              <mc:Fallback xmlns="">
                <p:pic>
                  <p:nvPicPr>
                    <p:cNvPr id="842" name="Input penna 841">
                      <a:extLst>
                        <a:ext uri="{FF2B5EF4-FFF2-40B4-BE49-F238E27FC236}">
                          <a16:creationId xmlns:a16="http://schemas.microsoft.com/office/drawing/2014/main" id="{023D4305-BC8B-001F-8891-6606654DC09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8"/>
                    <a:stretch>
                      <a:fillRect/>
                    </a:stretch>
                  </p:blipFill>
                  <p:spPr>
                    <a:xfrm>
                      <a:off x="5952398" y="3947690"/>
                      <a:ext cx="18216" cy="14642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9">
                  <p14:nvContentPartPr>
                    <p14:cNvPr id="843" name="Input penna 842">
                      <a:extLst>
                        <a:ext uri="{FF2B5EF4-FFF2-40B4-BE49-F238E27FC236}">
                          <a16:creationId xmlns:a16="http://schemas.microsoft.com/office/drawing/2014/main" id="{386DA029-267E-52D7-8CD5-DB8744E8005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82566" y="4066442"/>
                    <a:ext cx="26280" cy="11160"/>
                  </p14:xfrm>
                </p:contentPart>
              </mc:Choice>
              <mc:Fallback xmlns="">
                <p:pic>
                  <p:nvPicPr>
                    <p:cNvPr id="843" name="Input penna 842">
                      <a:extLst>
                        <a:ext uri="{FF2B5EF4-FFF2-40B4-BE49-F238E27FC236}">
                          <a16:creationId xmlns:a16="http://schemas.microsoft.com/office/drawing/2014/main" id="{386DA029-267E-52D7-8CD5-DB8744E8005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0"/>
                    <a:stretch>
                      <a:fillRect/>
                    </a:stretch>
                  </p:blipFill>
                  <p:spPr>
                    <a:xfrm>
                      <a:off x="5977560" y="4061659"/>
                      <a:ext cx="36291" cy="2072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1">
                  <p14:nvContentPartPr>
                    <p14:cNvPr id="844" name="Input penna 843">
                      <a:extLst>
                        <a:ext uri="{FF2B5EF4-FFF2-40B4-BE49-F238E27FC236}">
                          <a16:creationId xmlns:a16="http://schemas.microsoft.com/office/drawing/2014/main" id="{D4DE504E-DCB9-3031-183C-922DA857BAD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67806" y="4084802"/>
                    <a:ext cx="41040" cy="11160"/>
                  </p14:xfrm>
                </p:contentPart>
              </mc:Choice>
              <mc:Fallback xmlns="">
                <p:pic>
                  <p:nvPicPr>
                    <p:cNvPr id="844" name="Input penna 843">
                      <a:extLst>
                        <a:ext uri="{FF2B5EF4-FFF2-40B4-BE49-F238E27FC236}">
                          <a16:creationId xmlns:a16="http://schemas.microsoft.com/office/drawing/2014/main" id="{D4DE504E-DCB9-3031-183C-922DA857BAD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2"/>
                    <a:stretch>
                      <a:fillRect/>
                    </a:stretch>
                  </p:blipFill>
                  <p:spPr>
                    <a:xfrm>
                      <a:off x="5962781" y="4079842"/>
                      <a:ext cx="51091" cy="210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3">
                  <p14:nvContentPartPr>
                    <p14:cNvPr id="845" name="Input penna 844">
                      <a:extLst>
                        <a:ext uri="{FF2B5EF4-FFF2-40B4-BE49-F238E27FC236}">
                          <a16:creationId xmlns:a16="http://schemas.microsoft.com/office/drawing/2014/main" id="{A6843E75-4B92-FAAA-8F5B-1F8BBEB7111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08846" y="4062842"/>
                    <a:ext cx="6840" cy="46800"/>
                  </p14:xfrm>
                </p:contentPart>
              </mc:Choice>
              <mc:Fallback xmlns="">
                <p:pic>
                  <p:nvPicPr>
                    <p:cNvPr id="845" name="Input penna 844">
                      <a:extLst>
                        <a:ext uri="{FF2B5EF4-FFF2-40B4-BE49-F238E27FC236}">
                          <a16:creationId xmlns:a16="http://schemas.microsoft.com/office/drawing/2014/main" id="{A6843E75-4B92-FAAA-8F5B-1F8BBEB7111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4"/>
                    <a:stretch>
                      <a:fillRect/>
                    </a:stretch>
                  </p:blipFill>
                  <p:spPr>
                    <a:xfrm>
                      <a:off x="6004018" y="4057828"/>
                      <a:ext cx="16496" cy="5682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5">
                  <p14:nvContentPartPr>
                    <p14:cNvPr id="846" name="Input penna 845">
                      <a:extLst>
                        <a:ext uri="{FF2B5EF4-FFF2-40B4-BE49-F238E27FC236}">
                          <a16:creationId xmlns:a16="http://schemas.microsoft.com/office/drawing/2014/main" id="{7092DAA0-0D8B-77F7-656A-A8C28B3DFFB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01286" y="3931082"/>
                    <a:ext cx="5400" cy="29160"/>
                  </p14:xfrm>
                </p:contentPart>
              </mc:Choice>
              <mc:Fallback xmlns="">
                <p:pic>
                  <p:nvPicPr>
                    <p:cNvPr id="846" name="Input penna 845">
                      <a:extLst>
                        <a:ext uri="{FF2B5EF4-FFF2-40B4-BE49-F238E27FC236}">
                          <a16:creationId xmlns:a16="http://schemas.microsoft.com/office/drawing/2014/main" id="{7092DAA0-0D8B-77F7-656A-A8C28B3DFFB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6"/>
                    <a:stretch>
                      <a:fillRect/>
                    </a:stretch>
                  </p:blipFill>
                  <p:spPr>
                    <a:xfrm>
                      <a:off x="5996301" y="3926154"/>
                      <a:ext cx="15369" cy="3901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7">
                  <p14:nvContentPartPr>
                    <p14:cNvPr id="847" name="Input penna 846">
                      <a:extLst>
                        <a:ext uri="{FF2B5EF4-FFF2-40B4-BE49-F238E27FC236}">
                          <a16:creationId xmlns:a16="http://schemas.microsoft.com/office/drawing/2014/main" id="{C9007EA3-A7AC-DE7B-1981-A042F414657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07046" y="3946202"/>
                    <a:ext cx="28080" cy="170280"/>
                  </p14:xfrm>
                </p:contentPart>
              </mc:Choice>
              <mc:Fallback xmlns="">
                <p:pic>
                  <p:nvPicPr>
                    <p:cNvPr id="847" name="Input penna 846">
                      <a:extLst>
                        <a:ext uri="{FF2B5EF4-FFF2-40B4-BE49-F238E27FC236}">
                          <a16:creationId xmlns:a16="http://schemas.microsoft.com/office/drawing/2014/main" id="{C9007EA3-A7AC-DE7B-1981-A042F414657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8"/>
                    <a:stretch>
                      <a:fillRect/>
                    </a:stretch>
                  </p:blipFill>
                  <p:spPr>
                    <a:xfrm>
                      <a:off x="6002017" y="3941194"/>
                      <a:ext cx="38139" cy="18029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9">
                  <p14:nvContentPartPr>
                    <p14:cNvPr id="848" name="Input penna 847">
                      <a:extLst>
                        <a:ext uri="{FF2B5EF4-FFF2-40B4-BE49-F238E27FC236}">
                          <a16:creationId xmlns:a16="http://schemas.microsoft.com/office/drawing/2014/main" id="{E82220DF-2D5D-829B-0C1A-E40597D8790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73886" y="3131162"/>
                    <a:ext cx="11880" cy="1072800"/>
                  </p14:xfrm>
                </p:contentPart>
              </mc:Choice>
              <mc:Fallback xmlns="">
                <p:pic>
                  <p:nvPicPr>
                    <p:cNvPr id="848" name="Input penna 847">
                      <a:extLst>
                        <a:ext uri="{FF2B5EF4-FFF2-40B4-BE49-F238E27FC236}">
                          <a16:creationId xmlns:a16="http://schemas.microsoft.com/office/drawing/2014/main" id="{E82220DF-2D5D-829B-0C1A-E40597D8790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0"/>
                    <a:stretch>
                      <a:fillRect/>
                    </a:stretch>
                  </p:blipFill>
                  <p:spPr>
                    <a:xfrm>
                      <a:off x="6368970" y="3126151"/>
                      <a:ext cx="21712" cy="108282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1">
                  <p14:nvContentPartPr>
                    <p14:cNvPr id="849" name="Input penna 848">
                      <a:extLst>
                        <a:ext uri="{FF2B5EF4-FFF2-40B4-BE49-F238E27FC236}">
                          <a16:creationId xmlns:a16="http://schemas.microsoft.com/office/drawing/2014/main" id="{1F0E826A-3DAC-6F31-C53B-0EDC38BEB7F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91246" y="3134042"/>
                    <a:ext cx="20160" cy="1044720"/>
                  </p14:xfrm>
                </p:contentPart>
              </mc:Choice>
              <mc:Fallback xmlns="">
                <p:pic>
                  <p:nvPicPr>
                    <p:cNvPr id="849" name="Input penna 848">
                      <a:extLst>
                        <a:ext uri="{FF2B5EF4-FFF2-40B4-BE49-F238E27FC236}">
                          <a16:creationId xmlns:a16="http://schemas.microsoft.com/office/drawing/2014/main" id="{1F0E826A-3DAC-6F31-C53B-0EDC38BEB7F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2"/>
                    <a:stretch>
                      <a:fillRect/>
                    </a:stretch>
                  </p:blipFill>
                  <p:spPr>
                    <a:xfrm>
                      <a:off x="6486206" y="3129033"/>
                      <a:ext cx="30240" cy="105473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3">
                  <p14:nvContentPartPr>
                    <p14:cNvPr id="850" name="Input penna 849">
                      <a:extLst>
                        <a:ext uri="{FF2B5EF4-FFF2-40B4-BE49-F238E27FC236}">
                          <a16:creationId xmlns:a16="http://schemas.microsoft.com/office/drawing/2014/main" id="{DFFE47F7-1FF1-0C2B-FCA0-A3D032A0A12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3486" y="3589442"/>
                    <a:ext cx="37800" cy="150840"/>
                  </p14:xfrm>
                </p:contentPart>
              </mc:Choice>
              <mc:Fallback xmlns="">
                <p:pic>
                  <p:nvPicPr>
                    <p:cNvPr id="850" name="Input penna 849">
                      <a:extLst>
                        <a:ext uri="{FF2B5EF4-FFF2-40B4-BE49-F238E27FC236}">
                          <a16:creationId xmlns:a16="http://schemas.microsoft.com/office/drawing/2014/main" id="{DFFE47F7-1FF1-0C2B-FCA0-A3D032A0A12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4"/>
                    <a:stretch>
                      <a:fillRect/>
                    </a:stretch>
                  </p:blipFill>
                  <p:spPr>
                    <a:xfrm>
                      <a:off x="6408501" y="3584428"/>
                      <a:ext cx="47769" cy="16086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5">
                  <p14:nvContentPartPr>
                    <p14:cNvPr id="851" name="Input penna 850">
                      <a:extLst>
                        <a:ext uri="{FF2B5EF4-FFF2-40B4-BE49-F238E27FC236}">
                          <a16:creationId xmlns:a16="http://schemas.microsoft.com/office/drawing/2014/main" id="{F80E6A4B-2255-8D1C-630D-5BE686C5BC9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7166" y="3582962"/>
                    <a:ext cx="24120" cy="154800"/>
                  </p14:xfrm>
                </p:contentPart>
              </mc:Choice>
              <mc:Fallback xmlns="">
                <p:pic>
                  <p:nvPicPr>
                    <p:cNvPr id="851" name="Input penna 850">
                      <a:extLst>
                        <a:ext uri="{FF2B5EF4-FFF2-40B4-BE49-F238E27FC236}">
                          <a16:creationId xmlns:a16="http://schemas.microsoft.com/office/drawing/2014/main" id="{F80E6A4B-2255-8D1C-630D-5BE686C5BC9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6"/>
                    <a:stretch>
                      <a:fillRect/>
                    </a:stretch>
                  </p:blipFill>
                  <p:spPr>
                    <a:xfrm>
                      <a:off x="6422260" y="3577955"/>
                      <a:ext cx="33932" cy="16481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7">
                  <p14:nvContentPartPr>
                    <p14:cNvPr id="852" name="Input penna 851">
                      <a:extLst>
                        <a:ext uri="{FF2B5EF4-FFF2-40B4-BE49-F238E27FC236}">
                          <a16:creationId xmlns:a16="http://schemas.microsoft.com/office/drawing/2014/main" id="{C66C9889-620F-64ED-2F6E-B103599C7A6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7591" y="2361570"/>
                    <a:ext cx="29160" cy="186480"/>
                  </p14:xfrm>
                </p:contentPart>
              </mc:Choice>
              <mc:Fallback xmlns="">
                <p:pic>
                  <p:nvPicPr>
                    <p:cNvPr id="852" name="Input penna 851">
                      <a:extLst>
                        <a:ext uri="{FF2B5EF4-FFF2-40B4-BE49-F238E27FC236}">
                          <a16:creationId xmlns:a16="http://schemas.microsoft.com/office/drawing/2014/main" id="{C66C9889-620F-64ED-2F6E-B103599C7A6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8"/>
                    <a:stretch>
                      <a:fillRect/>
                    </a:stretch>
                  </p:blipFill>
                  <p:spPr>
                    <a:xfrm>
                      <a:off x="6342592" y="2356553"/>
                      <a:ext cx="39158" cy="1965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9">
                  <p14:nvContentPartPr>
                    <p14:cNvPr id="853" name="Input penna 852">
                      <a:extLst>
                        <a:ext uri="{FF2B5EF4-FFF2-40B4-BE49-F238E27FC236}">
                          <a16:creationId xmlns:a16="http://schemas.microsoft.com/office/drawing/2014/main" id="{24FFD591-46C9-457B-50AC-684ACFE1D55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04111" y="2357610"/>
                    <a:ext cx="17280" cy="177480"/>
                  </p14:xfrm>
                </p:contentPart>
              </mc:Choice>
              <mc:Fallback xmlns="">
                <p:pic>
                  <p:nvPicPr>
                    <p:cNvPr id="853" name="Input penna 852">
                      <a:extLst>
                        <a:ext uri="{FF2B5EF4-FFF2-40B4-BE49-F238E27FC236}">
                          <a16:creationId xmlns:a16="http://schemas.microsoft.com/office/drawing/2014/main" id="{24FFD591-46C9-457B-50AC-684ACFE1D55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0"/>
                    <a:stretch>
                      <a:fillRect/>
                    </a:stretch>
                  </p:blipFill>
                  <p:spPr>
                    <a:xfrm>
                      <a:off x="6399174" y="2352599"/>
                      <a:ext cx="27154" cy="1875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1">
                  <p14:nvContentPartPr>
                    <p14:cNvPr id="854" name="Input penna 853">
                      <a:extLst>
                        <a:ext uri="{FF2B5EF4-FFF2-40B4-BE49-F238E27FC236}">
                          <a16:creationId xmlns:a16="http://schemas.microsoft.com/office/drawing/2014/main" id="{C846F209-573B-C453-9F0C-942B729CCA7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8231" y="2349330"/>
                    <a:ext cx="80640" cy="18720"/>
                  </p14:xfrm>
                </p:contentPart>
              </mc:Choice>
              <mc:Fallback xmlns="">
                <p:pic>
                  <p:nvPicPr>
                    <p:cNvPr id="854" name="Input penna 853">
                      <a:extLst>
                        <a:ext uri="{FF2B5EF4-FFF2-40B4-BE49-F238E27FC236}">
                          <a16:creationId xmlns:a16="http://schemas.microsoft.com/office/drawing/2014/main" id="{C846F209-573B-C453-9F0C-942B729CCA7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2"/>
                    <a:stretch>
                      <a:fillRect/>
                    </a:stretch>
                  </p:blipFill>
                  <p:spPr>
                    <a:xfrm>
                      <a:off x="6333217" y="2344338"/>
                      <a:ext cx="90668" cy="2870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3">
                  <p14:nvContentPartPr>
                    <p14:cNvPr id="855" name="Input penna 854">
                      <a:extLst>
                        <a:ext uri="{FF2B5EF4-FFF2-40B4-BE49-F238E27FC236}">
                          <a16:creationId xmlns:a16="http://schemas.microsoft.com/office/drawing/2014/main" id="{A212E9DE-43C7-BF38-A659-7DF5B94B900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4711" y="2123610"/>
                    <a:ext cx="3240" cy="263520"/>
                  </p14:xfrm>
                </p:contentPart>
              </mc:Choice>
              <mc:Fallback xmlns="">
                <p:pic>
                  <p:nvPicPr>
                    <p:cNvPr id="855" name="Input penna 854">
                      <a:extLst>
                        <a:ext uri="{FF2B5EF4-FFF2-40B4-BE49-F238E27FC236}">
                          <a16:creationId xmlns:a16="http://schemas.microsoft.com/office/drawing/2014/main" id="{A212E9DE-43C7-BF38-A659-7DF5B94B900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4"/>
                    <a:stretch>
                      <a:fillRect/>
                    </a:stretch>
                  </p:blipFill>
                  <p:spPr>
                    <a:xfrm>
                      <a:off x="6339851" y="2118599"/>
                      <a:ext cx="12960" cy="27354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5">
                  <p14:nvContentPartPr>
                    <p14:cNvPr id="856" name="Input penna 855">
                      <a:extLst>
                        <a:ext uri="{FF2B5EF4-FFF2-40B4-BE49-F238E27FC236}">
                          <a16:creationId xmlns:a16="http://schemas.microsoft.com/office/drawing/2014/main" id="{31B225CB-648F-11F0-C613-A5F4AB2BD96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7071" y="2115330"/>
                    <a:ext cx="2160" cy="226080"/>
                  </p14:xfrm>
                </p:contentPart>
              </mc:Choice>
              <mc:Fallback xmlns="">
                <p:pic>
                  <p:nvPicPr>
                    <p:cNvPr id="856" name="Input penna 855">
                      <a:extLst>
                        <a:ext uri="{FF2B5EF4-FFF2-40B4-BE49-F238E27FC236}">
                          <a16:creationId xmlns:a16="http://schemas.microsoft.com/office/drawing/2014/main" id="{31B225CB-648F-11F0-C613-A5F4AB2BD96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6"/>
                    <a:stretch>
                      <a:fillRect/>
                    </a:stretch>
                  </p:blipFill>
                  <p:spPr>
                    <a:xfrm>
                      <a:off x="6411887" y="2110315"/>
                      <a:ext cx="12528" cy="23610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7">
                  <p14:nvContentPartPr>
                    <p14:cNvPr id="857" name="Input penna 856">
                      <a:extLst>
                        <a:ext uri="{FF2B5EF4-FFF2-40B4-BE49-F238E27FC236}">
                          <a16:creationId xmlns:a16="http://schemas.microsoft.com/office/drawing/2014/main" id="{55AEE6B9-7476-E681-ABAC-B7A9EB665B0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6151" y="2117850"/>
                    <a:ext cx="81000" cy="6120"/>
                  </p14:xfrm>
                </p:contentPart>
              </mc:Choice>
              <mc:Fallback xmlns="">
                <p:pic>
                  <p:nvPicPr>
                    <p:cNvPr id="857" name="Input penna 856">
                      <a:extLst>
                        <a:ext uri="{FF2B5EF4-FFF2-40B4-BE49-F238E27FC236}">
                          <a16:creationId xmlns:a16="http://schemas.microsoft.com/office/drawing/2014/main" id="{55AEE6B9-7476-E681-ABAC-B7A9EB665B0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8"/>
                    <a:stretch>
                      <a:fillRect/>
                    </a:stretch>
                  </p:blipFill>
                  <p:spPr>
                    <a:xfrm>
                      <a:off x="6341141" y="2112954"/>
                      <a:ext cx="91021" cy="159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9">
                  <p14:nvContentPartPr>
                    <p14:cNvPr id="858" name="Input penna 857">
                      <a:extLst>
                        <a:ext uri="{FF2B5EF4-FFF2-40B4-BE49-F238E27FC236}">
                          <a16:creationId xmlns:a16="http://schemas.microsoft.com/office/drawing/2014/main" id="{62618CCA-91B4-9BDB-086E-1BD9643CAC2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1111" y="2091570"/>
                    <a:ext cx="74520" cy="32760"/>
                  </p14:xfrm>
                </p:contentPart>
              </mc:Choice>
              <mc:Fallback xmlns="">
                <p:pic>
                  <p:nvPicPr>
                    <p:cNvPr id="858" name="Input penna 857">
                      <a:extLst>
                        <a:ext uri="{FF2B5EF4-FFF2-40B4-BE49-F238E27FC236}">
                          <a16:creationId xmlns:a16="http://schemas.microsoft.com/office/drawing/2014/main" id="{62618CCA-91B4-9BDB-086E-1BD9643CAC2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0"/>
                    <a:stretch>
                      <a:fillRect/>
                    </a:stretch>
                  </p:blipFill>
                  <p:spPr>
                    <a:xfrm>
                      <a:off x="6336087" y="2086594"/>
                      <a:ext cx="84568" cy="427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1">
                  <p14:nvContentPartPr>
                    <p14:cNvPr id="859" name="Input penna 858">
                      <a:extLst>
                        <a:ext uri="{FF2B5EF4-FFF2-40B4-BE49-F238E27FC236}">
                          <a16:creationId xmlns:a16="http://schemas.microsoft.com/office/drawing/2014/main" id="{259F6A30-F3D0-7FD1-23BC-FD76F1AF252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31471" y="2489010"/>
                    <a:ext cx="46440" cy="82800"/>
                  </p14:xfrm>
                </p:contentPart>
              </mc:Choice>
              <mc:Fallback xmlns="">
                <p:pic>
                  <p:nvPicPr>
                    <p:cNvPr id="859" name="Input penna 858">
                      <a:extLst>
                        <a:ext uri="{FF2B5EF4-FFF2-40B4-BE49-F238E27FC236}">
                          <a16:creationId xmlns:a16="http://schemas.microsoft.com/office/drawing/2014/main" id="{259F6A30-F3D0-7FD1-23BC-FD76F1AF252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2"/>
                    <a:stretch>
                      <a:fillRect/>
                    </a:stretch>
                  </p:blipFill>
                  <p:spPr>
                    <a:xfrm>
                      <a:off x="6426450" y="2483992"/>
                      <a:ext cx="56481" cy="9283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3">
                  <p14:nvContentPartPr>
                    <p14:cNvPr id="860" name="Input penna 859">
                      <a:extLst>
                        <a:ext uri="{FF2B5EF4-FFF2-40B4-BE49-F238E27FC236}">
                          <a16:creationId xmlns:a16="http://schemas.microsoft.com/office/drawing/2014/main" id="{8EBE3C37-B8C7-4A6D-B809-FBCDEF30752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33631" y="2406930"/>
                    <a:ext cx="49680" cy="88560"/>
                  </p14:xfrm>
                </p:contentPart>
              </mc:Choice>
              <mc:Fallback xmlns="">
                <p:pic>
                  <p:nvPicPr>
                    <p:cNvPr id="860" name="Input penna 859">
                      <a:extLst>
                        <a:ext uri="{FF2B5EF4-FFF2-40B4-BE49-F238E27FC236}">
                          <a16:creationId xmlns:a16="http://schemas.microsoft.com/office/drawing/2014/main" id="{8EBE3C37-B8C7-4A6D-B809-FBCDEF30752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4"/>
                    <a:stretch>
                      <a:fillRect/>
                    </a:stretch>
                  </p:blipFill>
                  <p:spPr>
                    <a:xfrm>
                      <a:off x="6428621" y="2401893"/>
                      <a:ext cx="59699" cy="986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5">
                  <p14:nvContentPartPr>
                    <p14:cNvPr id="861" name="Input penna 860">
                      <a:extLst>
                        <a:ext uri="{FF2B5EF4-FFF2-40B4-BE49-F238E27FC236}">
                          <a16:creationId xmlns:a16="http://schemas.microsoft.com/office/drawing/2014/main" id="{0440E48A-C975-B237-257B-4A58B2F4247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47671" y="2337450"/>
                    <a:ext cx="48600" cy="75960"/>
                  </p14:xfrm>
                </p:contentPart>
              </mc:Choice>
              <mc:Fallback xmlns="">
                <p:pic>
                  <p:nvPicPr>
                    <p:cNvPr id="861" name="Input penna 860">
                      <a:extLst>
                        <a:ext uri="{FF2B5EF4-FFF2-40B4-BE49-F238E27FC236}">
                          <a16:creationId xmlns:a16="http://schemas.microsoft.com/office/drawing/2014/main" id="{0440E48A-C975-B237-257B-4A58B2F4247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6"/>
                    <a:stretch>
                      <a:fillRect/>
                    </a:stretch>
                  </p:blipFill>
                  <p:spPr>
                    <a:xfrm>
                      <a:off x="6442686" y="2332414"/>
                      <a:ext cx="58569" cy="8603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7">
                  <p14:nvContentPartPr>
                    <p14:cNvPr id="862" name="Input penna 861">
                      <a:extLst>
                        <a:ext uri="{FF2B5EF4-FFF2-40B4-BE49-F238E27FC236}">
                          <a16:creationId xmlns:a16="http://schemas.microsoft.com/office/drawing/2014/main" id="{3A2DE9FA-4226-FC81-0236-2602DDF72F4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66391" y="2282010"/>
                    <a:ext cx="52200" cy="66960"/>
                  </p14:xfrm>
                </p:contentPart>
              </mc:Choice>
              <mc:Fallback xmlns="">
                <p:pic>
                  <p:nvPicPr>
                    <p:cNvPr id="862" name="Input penna 861">
                      <a:extLst>
                        <a:ext uri="{FF2B5EF4-FFF2-40B4-BE49-F238E27FC236}">
                          <a16:creationId xmlns:a16="http://schemas.microsoft.com/office/drawing/2014/main" id="{3A2DE9FA-4226-FC81-0236-2602DDF72F4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8"/>
                    <a:stretch>
                      <a:fillRect/>
                    </a:stretch>
                  </p:blipFill>
                  <p:spPr>
                    <a:xfrm>
                      <a:off x="6461380" y="2276988"/>
                      <a:ext cx="62222" cy="7700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9">
                  <p14:nvContentPartPr>
                    <p14:cNvPr id="863" name="Input penna 862">
                      <a:extLst>
                        <a:ext uri="{FF2B5EF4-FFF2-40B4-BE49-F238E27FC236}">
                          <a16:creationId xmlns:a16="http://schemas.microsoft.com/office/drawing/2014/main" id="{26146863-B59B-5927-EB42-E53E80D8FC7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80071" y="2244570"/>
                    <a:ext cx="69840" cy="59400"/>
                  </p14:xfrm>
                </p:contentPart>
              </mc:Choice>
              <mc:Fallback xmlns="">
                <p:pic>
                  <p:nvPicPr>
                    <p:cNvPr id="863" name="Input penna 862">
                      <a:extLst>
                        <a:ext uri="{FF2B5EF4-FFF2-40B4-BE49-F238E27FC236}">
                          <a16:creationId xmlns:a16="http://schemas.microsoft.com/office/drawing/2014/main" id="{26146863-B59B-5927-EB42-E53E80D8FC7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0"/>
                    <a:stretch>
                      <a:fillRect/>
                    </a:stretch>
                  </p:blipFill>
                  <p:spPr>
                    <a:xfrm>
                      <a:off x="6475053" y="2239550"/>
                      <a:ext cx="79877" cy="694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1">
                  <p14:nvContentPartPr>
                    <p14:cNvPr id="864" name="Input penna 863">
                      <a:extLst>
                        <a:ext uri="{FF2B5EF4-FFF2-40B4-BE49-F238E27FC236}">
                          <a16:creationId xmlns:a16="http://schemas.microsoft.com/office/drawing/2014/main" id="{E2EDCF62-AD2B-1B7A-6519-662AE03B5EE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18231" y="2212170"/>
                    <a:ext cx="58680" cy="57240"/>
                  </p14:xfrm>
                </p:contentPart>
              </mc:Choice>
              <mc:Fallback xmlns="">
                <p:pic>
                  <p:nvPicPr>
                    <p:cNvPr id="864" name="Input penna 863">
                      <a:extLst>
                        <a:ext uri="{FF2B5EF4-FFF2-40B4-BE49-F238E27FC236}">
                          <a16:creationId xmlns:a16="http://schemas.microsoft.com/office/drawing/2014/main" id="{E2EDCF62-AD2B-1B7A-6519-662AE03B5EE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2"/>
                    <a:stretch>
                      <a:fillRect/>
                    </a:stretch>
                  </p:blipFill>
                  <p:spPr>
                    <a:xfrm>
                      <a:off x="6513237" y="2207156"/>
                      <a:ext cx="68668" cy="6726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3">
                  <p14:nvContentPartPr>
                    <p14:cNvPr id="865" name="Input penna 864">
                      <a:extLst>
                        <a:ext uri="{FF2B5EF4-FFF2-40B4-BE49-F238E27FC236}">
                          <a16:creationId xmlns:a16="http://schemas.microsoft.com/office/drawing/2014/main" id="{3A703193-21E4-4456-C3D4-192C4EE66CE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75471" y="2215770"/>
                    <a:ext cx="47880" cy="55440"/>
                  </p14:xfrm>
                </p:contentPart>
              </mc:Choice>
              <mc:Fallback xmlns="">
                <p:pic>
                  <p:nvPicPr>
                    <p:cNvPr id="865" name="Input penna 864">
                      <a:extLst>
                        <a:ext uri="{FF2B5EF4-FFF2-40B4-BE49-F238E27FC236}">
                          <a16:creationId xmlns:a16="http://schemas.microsoft.com/office/drawing/2014/main" id="{3A703193-21E4-4456-C3D4-192C4EE66CE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4"/>
                    <a:stretch>
                      <a:fillRect/>
                    </a:stretch>
                  </p:blipFill>
                  <p:spPr>
                    <a:xfrm>
                      <a:off x="6570431" y="2210805"/>
                      <a:ext cx="57960" cy="6537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5">
                  <p14:nvContentPartPr>
                    <p14:cNvPr id="866" name="Input penna 865">
                      <a:extLst>
                        <a:ext uri="{FF2B5EF4-FFF2-40B4-BE49-F238E27FC236}">
                          <a16:creationId xmlns:a16="http://schemas.microsoft.com/office/drawing/2014/main" id="{8EFEB7F2-6DF7-73AF-C521-414A88114FC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24431" y="2240610"/>
                    <a:ext cx="40320" cy="63000"/>
                  </p14:xfrm>
                </p:contentPart>
              </mc:Choice>
              <mc:Fallback xmlns="">
                <p:pic>
                  <p:nvPicPr>
                    <p:cNvPr id="866" name="Input penna 865">
                      <a:extLst>
                        <a:ext uri="{FF2B5EF4-FFF2-40B4-BE49-F238E27FC236}">
                          <a16:creationId xmlns:a16="http://schemas.microsoft.com/office/drawing/2014/main" id="{8EFEB7F2-6DF7-73AF-C521-414A88114FC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6"/>
                    <a:stretch>
                      <a:fillRect/>
                    </a:stretch>
                  </p:blipFill>
                  <p:spPr>
                    <a:xfrm>
                      <a:off x="6619443" y="2235603"/>
                      <a:ext cx="50296" cy="7301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7">
                  <p14:nvContentPartPr>
                    <p14:cNvPr id="867" name="Input penna 866">
                      <a:extLst>
                        <a:ext uri="{FF2B5EF4-FFF2-40B4-BE49-F238E27FC236}">
                          <a16:creationId xmlns:a16="http://schemas.microsoft.com/office/drawing/2014/main" id="{2BCA0A32-F12F-22C9-16B8-35773B1F061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38111" y="2285610"/>
                    <a:ext cx="55080" cy="59040"/>
                  </p14:xfrm>
                </p:contentPart>
              </mc:Choice>
              <mc:Fallback xmlns="">
                <p:pic>
                  <p:nvPicPr>
                    <p:cNvPr id="867" name="Input penna 866">
                      <a:extLst>
                        <a:ext uri="{FF2B5EF4-FFF2-40B4-BE49-F238E27FC236}">
                          <a16:creationId xmlns:a16="http://schemas.microsoft.com/office/drawing/2014/main" id="{2BCA0A32-F12F-22C9-16B8-35773B1F061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8"/>
                    <a:stretch>
                      <a:fillRect/>
                    </a:stretch>
                  </p:blipFill>
                  <p:spPr>
                    <a:xfrm>
                      <a:off x="6633104" y="2280621"/>
                      <a:ext cx="65095" cy="6901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9">
                  <p14:nvContentPartPr>
                    <p14:cNvPr id="868" name="Input penna 867">
                      <a:extLst>
                        <a:ext uri="{FF2B5EF4-FFF2-40B4-BE49-F238E27FC236}">
                          <a16:creationId xmlns:a16="http://schemas.microsoft.com/office/drawing/2014/main" id="{0EEA6D33-245F-74DF-EBE0-17BD95599EE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73031" y="2310450"/>
                    <a:ext cx="46080" cy="66600"/>
                  </p14:xfrm>
                </p:contentPart>
              </mc:Choice>
              <mc:Fallback xmlns="">
                <p:pic>
                  <p:nvPicPr>
                    <p:cNvPr id="868" name="Input penna 867">
                      <a:extLst>
                        <a:ext uri="{FF2B5EF4-FFF2-40B4-BE49-F238E27FC236}">
                          <a16:creationId xmlns:a16="http://schemas.microsoft.com/office/drawing/2014/main" id="{0EEA6D33-245F-74DF-EBE0-17BD95599EE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0"/>
                    <a:stretch>
                      <a:fillRect/>
                    </a:stretch>
                  </p:blipFill>
                  <p:spPr>
                    <a:xfrm>
                      <a:off x="6668004" y="2305424"/>
                      <a:ext cx="56134" cy="7665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1">
                  <p14:nvContentPartPr>
                    <p14:cNvPr id="869" name="Input penna 868">
                      <a:extLst>
                        <a:ext uri="{FF2B5EF4-FFF2-40B4-BE49-F238E27FC236}">
                          <a16:creationId xmlns:a16="http://schemas.microsoft.com/office/drawing/2014/main" id="{83F60995-F609-5BB3-39C0-88F33FC45F4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92831" y="2347530"/>
                    <a:ext cx="36720" cy="72000"/>
                  </p14:xfrm>
                </p:contentPart>
              </mc:Choice>
              <mc:Fallback xmlns="">
                <p:pic>
                  <p:nvPicPr>
                    <p:cNvPr id="869" name="Input penna 868">
                      <a:extLst>
                        <a:ext uri="{FF2B5EF4-FFF2-40B4-BE49-F238E27FC236}">
                          <a16:creationId xmlns:a16="http://schemas.microsoft.com/office/drawing/2014/main" id="{83F60995-F609-5BB3-39C0-88F33FC45F4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2"/>
                    <a:stretch>
                      <a:fillRect/>
                    </a:stretch>
                  </p:blipFill>
                  <p:spPr>
                    <a:xfrm>
                      <a:off x="6687880" y="2342536"/>
                      <a:ext cx="46622" cy="8198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3">
                  <p14:nvContentPartPr>
                    <p14:cNvPr id="870" name="Input penna 869">
                      <a:extLst>
                        <a:ext uri="{FF2B5EF4-FFF2-40B4-BE49-F238E27FC236}">
                          <a16:creationId xmlns:a16="http://schemas.microsoft.com/office/drawing/2014/main" id="{C2AF1C40-9B2F-E501-64ED-4508F584B7A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709751" y="2410530"/>
                    <a:ext cx="41760" cy="81000"/>
                  </p14:xfrm>
                </p:contentPart>
              </mc:Choice>
              <mc:Fallback xmlns="">
                <p:pic>
                  <p:nvPicPr>
                    <p:cNvPr id="870" name="Input penna 869">
                      <a:extLst>
                        <a:ext uri="{FF2B5EF4-FFF2-40B4-BE49-F238E27FC236}">
                          <a16:creationId xmlns:a16="http://schemas.microsoft.com/office/drawing/2014/main" id="{C2AF1C40-9B2F-E501-64ED-4508F584B7A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4"/>
                    <a:stretch>
                      <a:fillRect/>
                    </a:stretch>
                  </p:blipFill>
                  <p:spPr>
                    <a:xfrm>
                      <a:off x="6704689" y="2405520"/>
                      <a:ext cx="51884" cy="910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5">
                  <p14:nvContentPartPr>
                    <p14:cNvPr id="871" name="Input penna 870">
                      <a:extLst>
                        <a:ext uri="{FF2B5EF4-FFF2-40B4-BE49-F238E27FC236}">
                          <a16:creationId xmlns:a16="http://schemas.microsoft.com/office/drawing/2014/main" id="{F0838DB2-1E60-7F7A-E415-2C1334A789D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717311" y="2480730"/>
                    <a:ext cx="43560" cy="72000"/>
                  </p14:xfrm>
                </p:contentPart>
              </mc:Choice>
              <mc:Fallback xmlns="">
                <p:pic>
                  <p:nvPicPr>
                    <p:cNvPr id="871" name="Input penna 870">
                      <a:extLst>
                        <a:ext uri="{FF2B5EF4-FFF2-40B4-BE49-F238E27FC236}">
                          <a16:creationId xmlns:a16="http://schemas.microsoft.com/office/drawing/2014/main" id="{F0838DB2-1E60-7F7A-E415-2C1334A789D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6"/>
                    <a:stretch>
                      <a:fillRect/>
                    </a:stretch>
                  </p:blipFill>
                  <p:spPr>
                    <a:xfrm>
                      <a:off x="6712333" y="2475736"/>
                      <a:ext cx="53517" cy="8198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7">
                  <p14:nvContentPartPr>
                    <p14:cNvPr id="872" name="Input penna 871">
                      <a:extLst>
                        <a:ext uri="{FF2B5EF4-FFF2-40B4-BE49-F238E27FC236}">
                          <a16:creationId xmlns:a16="http://schemas.microsoft.com/office/drawing/2014/main" id="{CC6D02A0-92BE-3F80-3874-35A01461D40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721271" y="2556330"/>
                    <a:ext cx="37440" cy="74160"/>
                  </p14:xfrm>
                </p:contentPart>
              </mc:Choice>
              <mc:Fallback xmlns="">
                <p:pic>
                  <p:nvPicPr>
                    <p:cNvPr id="872" name="Input penna 871">
                      <a:extLst>
                        <a:ext uri="{FF2B5EF4-FFF2-40B4-BE49-F238E27FC236}">
                          <a16:creationId xmlns:a16="http://schemas.microsoft.com/office/drawing/2014/main" id="{CC6D02A0-92BE-3F80-3874-35A01461D40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8"/>
                    <a:stretch>
                      <a:fillRect/>
                    </a:stretch>
                  </p:blipFill>
                  <p:spPr>
                    <a:xfrm>
                      <a:off x="6716334" y="2551330"/>
                      <a:ext cx="47314" cy="8415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9">
                  <p14:nvContentPartPr>
                    <p14:cNvPr id="873" name="Input penna 872">
                      <a:extLst>
                        <a:ext uri="{FF2B5EF4-FFF2-40B4-BE49-F238E27FC236}">
                          <a16:creationId xmlns:a16="http://schemas.microsoft.com/office/drawing/2014/main" id="{FE66354B-2398-5F93-7406-2933B80C3F2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11471" y="2560650"/>
                    <a:ext cx="101520" cy="15840"/>
                  </p14:xfrm>
                </p:contentPart>
              </mc:Choice>
              <mc:Fallback xmlns="">
                <p:pic>
                  <p:nvPicPr>
                    <p:cNvPr id="873" name="Input penna 872">
                      <a:extLst>
                        <a:ext uri="{FF2B5EF4-FFF2-40B4-BE49-F238E27FC236}">
                          <a16:creationId xmlns:a16="http://schemas.microsoft.com/office/drawing/2014/main" id="{FE66354B-2398-5F93-7406-2933B80C3F2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0"/>
                    <a:stretch>
                      <a:fillRect/>
                    </a:stretch>
                  </p:blipFill>
                  <p:spPr>
                    <a:xfrm>
                      <a:off x="6606458" y="2555648"/>
                      <a:ext cx="111547" cy="2584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1">
                  <p14:nvContentPartPr>
                    <p14:cNvPr id="874" name="Input penna 873">
                      <a:extLst>
                        <a:ext uri="{FF2B5EF4-FFF2-40B4-BE49-F238E27FC236}">
                          <a16:creationId xmlns:a16="http://schemas.microsoft.com/office/drawing/2014/main" id="{7B20849C-9DC3-DB7C-B6D6-F04E2284663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07871" y="2472450"/>
                    <a:ext cx="101880" cy="16560"/>
                  </p14:xfrm>
                </p:contentPart>
              </mc:Choice>
              <mc:Fallback xmlns="">
                <p:pic>
                  <p:nvPicPr>
                    <p:cNvPr id="874" name="Input penna 873">
                      <a:extLst>
                        <a:ext uri="{FF2B5EF4-FFF2-40B4-BE49-F238E27FC236}">
                          <a16:creationId xmlns:a16="http://schemas.microsoft.com/office/drawing/2014/main" id="{7B20849C-9DC3-DB7C-B6D6-F04E2284663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2"/>
                    <a:stretch>
                      <a:fillRect/>
                    </a:stretch>
                  </p:blipFill>
                  <p:spPr>
                    <a:xfrm>
                      <a:off x="6602881" y="2467482"/>
                      <a:ext cx="111860" cy="2649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3">
                  <p14:nvContentPartPr>
                    <p14:cNvPr id="875" name="Input penna 874">
                      <a:extLst>
                        <a:ext uri="{FF2B5EF4-FFF2-40B4-BE49-F238E27FC236}">
                          <a16:creationId xmlns:a16="http://schemas.microsoft.com/office/drawing/2014/main" id="{8E25E4BC-8C1B-F42B-C936-227DBE0E707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02471" y="2409810"/>
                    <a:ext cx="104760" cy="23760"/>
                  </p14:xfrm>
                </p:contentPart>
              </mc:Choice>
              <mc:Fallback xmlns="">
                <p:pic>
                  <p:nvPicPr>
                    <p:cNvPr id="875" name="Input penna 874">
                      <a:extLst>
                        <a:ext uri="{FF2B5EF4-FFF2-40B4-BE49-F238E27FC236}">
                          <a16:creationId xmlns:a16="http://schemas.microsoft.com/office/drawing/2014/main" id="{8E25E4BC-8C1B-F42B-C936-227DBE0E707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4"/>
                    <a:stretch>
                      <a:fillRect/>
                    </a:stretch>
                  </p:blipFill>
                  <p:spPr>
                    <a:xfrm>
                      <a:off x="6597463" y="2404808"/>
                      <a:ext cx="114777" cy="3376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5">
                  <p14:nvContentPartPr>
                    <p14:cNvPr id="876" name="Input penna 875">
                      <a:extLst>
                        <a:ext uri="{FF2B5EF4-FFF2-40B4-BE49-F238E27FC236}">
                          <a16:creationId xmlns:a16="http://schemas.microsoft.com/office/drawing/2014/main" id="{CFE4C3D9-EFD1-20C6-8481-3541D214C84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79071" y="2360850"/>
                    <a:ext cx="92160" cy="40680"/>
                  </p14:xfrm>
                </p:contentPart>
              </mc:Choice>
              <mc:Fallback xmlns="">
                <p:pic>
                  <p:nvPicPr>
                    <p:cNvPr id="876" name="Input penna 875">
                      <a:extLst>
                        <a:ext uri="{FF2B5EF4-FFF2-40B4-BE49-F238E27FC236}">
                          <a16:creationId xmlns:a16="http://schemas.microsoft.com/office/drawing/2014/main" id="{CFE4C3D9-EFD1-20C6-8481-3541D214C84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6"/>
                    <a:stretch>
                      <a:fillRect/>
                    </a:stretch>
                  </p:blipFill>
                  <p:spPr>
                    <a:xfrm>
                      <a:off x="6574089" y="2355869"/>
                      <a:ext cx="102123" cy="506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7">
                  <p14:nvContentPartPr>
                    <p14:cNvPr id="877" name="Input penna 876">
                      <a:extLst>
                        <a:ext uri="{FF2B5EF4-FFF2-40B4-BE49-F238E27FC236}">
                          <a16:creationId xmlns:a16="http://schemas.microsoft.com/office/drawing/2014/main" id="{C34AC6B1-498C-A2A0-B18A-516773813AC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59991" y="2312610"/>
                    <a:ext cx="76320" cy="73080"/>
                  </p14:xfrm>
                </p:contentPart>
              </mc:Choice>
              <mc:Fallback xmlns="">
                <p:pic>
                  <p:nvPicPr>
                    <p:cNvPr id="877" name="Input penna 876">
                      <a:extLst>
                        <a:ext uri="{FF2B5EF4-FFF2-40B4-BE49-F238E27FC236}">
                          <a16:creationId xmlns:a16="http://schemas.microsoft.com/office/drawing/2014/main" id="{C34AC6B1-498C-A2A0-B18A-516773813AC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8"/>
                    <a:stretch>
                      <a:fillRect/>
                    </a:stretch>
                  </p:blipFill>
                  <p:spPr>
                    <a:xfrm>
                      <a:off x="6554986" y="2307599"/>
                      <a:ext cx="86329" cy="831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9">
                  <p14:nvContentPartPr>
                    <p14:cNvPr id="878" name="Input penna 877">
                      <a:extLst>
                        <a:ext uri="{FF2B5EF4-FFF2-40B4-BE49-F238E27FC236}">
                          <a16:creationId xmlns:a16="http://schemas.microsoft.com/office/drawing/2014/main" id="{26D61F94-0D2A-083A-4008-0F9CE0C4E6C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45591" y="2276610"/>
                    <a:ext cx="68040" cy="76680"/>
                  </p14:xfrm>
                </p:contentPart>
              </mc:Choice>
              <mc:Fallback xmlns="">
                <p:pic>
                  <p:nvPicPr>
                    <p:cNvPr id="878" name="Input penna 877">
                      <a:extLst>
                        <a:ext uri="{FF2B5EF4-FFF2-40B4-BE49-F238E27FC236}">
                          <a16:creationId xmlns:a16="http://schemas.microsoft.com/office/drawing/2014/main" id="{26D61F94-0D2A-083A-4008-0F9CE0C4E6C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0"/>
                    <a:stretch>
                      <a:fillRect/>
                    </a:stretch>
                  </p:blipFill>
                  <p:spPr>
                    <a:xfrm>
                      <a:off x="6540582" y="2271609"/>
                      <a:ext cx="78058" cy="8668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1">
                  <p14:nvContentPartPr>
                    <p14:cNvPr id="879" name="Input penna 878">
                      <a:extLst>
                        <a:ext uri="{FF2B5EF4-FFF2-40B4-BE49-F238E27FC236}">
                          <a16:creationId xmlns:a16="http://schemas.microsoft.com/office/drawing/2014/main" id="{5764006A-27CE-164E-74CC-A106D9EB5AF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29751" y="2256810"/>
                    <a:ext cx="45360" cy="84960"/>
                  </p14:xfrm>
                </p:contentPart>
              </mc:Choice>
              <mc:Fallback xmlns="">
                <p:pic>
                  <p:nvPicPr>
                    <p:cNvPr id="879" name="Input penna 878">
                      <a:extLst>
                        <a:ext uri="{FF2B5EF4-FFF2-40B4-BE49-F238E27FC236}">
                          <a16:creationId xmlns:a16="http://schemas.microsoft.com/office/drawing/2014/main" id="{5764006A-27CE-164E-74CC-A106D9EB5AF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2"/>
                    <a:stretch>
                      <a:fillRect/>
                    </a:stretch>
                  </p:blipFill>
                  <p:spPr>
                    <a:xfrm>
                      <a:off x="6524803" y="2251812"/>
                      <a:ext cx="55257" cy="9495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3">
                  <p14:nvContentPartPr>
                    <p14:cNvPr id="880" name="Input penna 879">
                      <a:extLst>
                        <a:ext uri="{FF2B5EF4-FFF2-40B4-BE49-F238E27FC236}">
                          <a16:creationId xmlns:a16="http://schemas.microsoft.com/office/drawing/2014/main" id="{307EDF60-332C-62EF-780A-934C70120EB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23831" y="2524650"/>
                    <a:ext cx="32760" cy="3240"/>
                  </p14:xfrm>
                </p:contentPart>
              </mc:Choice>
              <mc:Fallback xmlns="">
                <p:pic>
                  <p:nvPicPr>
                    <p:cNvPr id="880" name="Input penna 879">
                      <a:extLst>
                        <a:ext uri="{FF2B5EF4-FFF2-40B4-BE49-F238E27FC236}">
                          <a16:creationId xmlns:a16="http://schemas.microsoft.com/office/drawing/2014/main" id="{307EDF60-332C-62EF-780A-934C70120EB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4"/>
                    <a:stretch>
                      <a:fillRect/>
                    </a:stretch>
                  </p:blipFill>
                  <p:spPr>
                    <a:xfrm>
                      <a:off x="6318855" y="2519790"/>
                      <a:ext cx="42712" cy="129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5">
                  <p14:nvContentPartPr>
                    <p14:cNvPr id="881" name="Input penna 880">
                      <a:extLst>
                        <a:ext uri="{FF2B5EF4-FFF2-40B4-BE49-F238E27FC236}">
                          <a16:creationId xmlns:a16="http://schemas.microsoft.com/office/drawing/2014/main" id="{582850BD-B614-2810-6DEE-00D9F4F0987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07711" y="2517450"/>
                    <a:ext cx="25920" cy="3600"/>
                  </p14:xfrm>
                </p:contentPart>
              </mc:Choice>
              <mc:Fallback xmlns="">
                <p:pic>
                  <p:nvPicPr>
                    <p:cNvPr id="881" name="Input penna 880">
                      <a:extLst>
                        <a:ext uri="{FF2B5EF4-FFF2-40B4-BE49-F238E27FC236}">
                          <a16:creationId xmlns:a16="http://schemas.microsoft.com/office/drawing/2014/main" id="{582850BD-B614-2810-6DEE-00D9F4F0987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6"/>
                    <a:stretch>
                      <a:fillRect/>
                    </a:stretch>
                  </p:blipFill>
                  <p:spPr>
                    <a:xfrm>
                      <a:off x="6402694" y="2512650"/>
                      <a:ext cx="35954" cy="132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7">
                  <p14:nvContentPartPr>
                    <p14:cNvPr id="882" name="Input penna 881">
                      <a:extLst>
                        <a:ext uri="{FF2B5EF4-FFF2-40B4-BE49-F238E27FC236}">
                          <a16:creationId xmlns:a16="http://schemas.microsoft.com/office/drawing/2014/main" id="{A857BF9B-FB1A-C6FD-6298-F91937F2146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14471" y="2445090"/>
                    <a:ext cx="48240" cy="12240"/>
                  </p14:xfrm>
                </p:contentPart>
              </mc:Choice>
              <mc:Fallback xmlns="">
                <p:pic>
                  <p:nvPicPr>
                    <p:cNvPr id="882" name="Input penna 881">
                      <a:extLst>
                        <a:ext uri="{FF2B5EF4-FFF2-40B4-BE49-F238E27FC236}">
                          <a16:creationId xmlns:a16="http://schemas.microsoft.com/office/drawing/2014/main" id="{A857BF9B-FB1A-C6FD-6298-F91937F2146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8"/>
                    <a:stretch>
                      <a:fillRect/>
                    </a:stretch>
                  </p:blipFill>
                  <p:spPr>
                    <a:xfrm>
                      <a:off x="6309481" y="2440194"/>
                      <a:ext cx="58221" cy="2203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9">
                  <p14:nvContentPartPr>
                    <p14:cNvPr id="883" name="Input penna 882">
                      <a:extLst>
                        <a:ext uri="{FF2B5EF4-FFF2-40B4-BE49-F238E27FC236}">
                          <a16:creationId xmlns:a16="http://schemas.microsoft.com/office/drawing/2014/main" id="{AB889892-B16B-F1DC-0F46-CFD38217840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19871" y="2442210"/>
                    <a:ext cx="3960" cy="147960"/>
                  </p14:xfrm>
                </p:contentPart>
              </mc:Choice>
              <mc:Fallback xmlns="">
                <p:pic>
                  <p:nvPicPr>
                    <p:cNvPr id="883" name="Input penna 882">
                      <a:extLst>
                        <a:ext uri="{FF2B5EF4-FFF2-40B4-BE49-F238E27FC236}">
                          <a16:creationId xmlns:a16="http://schemas.microsoft.com/office/drawing/2014/main" id="{AB889892-B16B-F1DC-0F46-CFD38217840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0"/>
                    <a:stretch>
                      <a:fillRect/>
                    </a:stretch>
                  </p:blipFill>
                  <p:spPr>
                    <a:xfrm>
                      <a:off x="6315119" y="2437194"/>
                      <a:ext cx="13464" cy="1579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1">
                  <p14:nvContentPartPr>
                    <p14:cNvPr id="884" name="Input penna 883">
                      <a:extLst>
                        <a:ext uri="{FF2B5EF4-FFF2-40B4-BE49-F238E27FC236}">
                          <a16:creationId xmlns:a16="http://schemas.microsoft.com/office/drawing/2014/main" id="{4581CC01-C534-7F91-5898-BF91D05C5A5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23111" y="2381370"/>
                    <a:ext cx="22680" cy="52920"/>
                  </p14:xfrm>
                </p:contentPart>
              </mc:Choice>
              <mc:Fallback xmlns="">
                <p:pic>
                  <p:nvPicPr>
                    <p:cNvPr id="884" name="Input penna 883">
                      <a:extLst>
                        <a:ext uri="{FF2B5EF4-FFF2-40B4-BE49-F238E27FC236}">
                          <a16:creationId xmlns:a16="http://schemas.microsoft.com/office/drawing/2014/main" id="{4581CC01-C534-7F91-5898-BF91D05C5A5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2"/>
                    <a:stretch>
                      <a:fillRect/>
                    </a:stretch>
                  </p:blipFill>
                  <p:spPr>
                    <a:xfrm>
                      <a:off x="6318071" y="2376370"/>
                      <a:ext cx="32760" cy="629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3">
                  <p14:nvContentPartPr>
                    <p14:cNvPr id="885" name="Input penna 884">
                      <a:extLst>
                        <a:ext uri="{FF2B5EF4-FFF2-40B4-BE49-F238E27FC236}">
                          <a16:creationId xmlns:a16="http://schemas.microsoft.com/office/drawing/2014/main" id="{A7DE51CA-B856-6061-88A5-5E0AC75AF35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4271" y="2360490"/>
                    <a:ext cx="36000" cy="3240"/>
                  </p14:xfrm>
                </p:contentPart>
              </mc:Choice>
              <mc:Fallback xmlns="">
                <p:pic>
                  <p:nvPicPr>
                    <p:cNvPr id="885" name="Input penna 884">
                      <a:extLst>
                        <a:ext uri="{FF2B5EF4-FFF2-40B4-BE49-F238E27FC236}">
                          <a16:creationId xmlns:a16="http://schemas.microsoft.com/office/drawing/2014/main" id="{A7DE51CA-B856-6061-88A5-5E0AC75AF35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4"/>
                    <a:stretch>
                      <a:fillRect/>
                    </a:stretch>
                  </p:blipFill>
                  <p:spPr>
                    <a:xfrm>
                      <a:off x="6419248" y="2355630"/>
                      <a:ext cx="46047" cy="129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5">
                  <p14:nvContentPartPr>
                    <p14:cNvPr id="886" name="Input penna 885">
                      <a:extLst>
                        <a:ext uri="{FF2B5EF4-FFF2-40B4-BE49-F238E27FC236}">
                          <a16:creationId xmlns:a16="http://schemas.microsoft.com/office/drawing/2014/main" id="{872098F5-75F4-8C04-286F-2742AADEBB6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5711" y="2291010"/>
                    <a:ext cx="54360" cy="9720"/>
                  </p14:xfrm>
                </p:contentPart>
              </mc:Choice>
              <mc:Fallback xmlns="">
                <p:pic>
                  <p:nvPicPr>
                    <p:cNvPr id="886" name="Input penna 885">
                      <a:extLst>
                        <a:ext uri="{FF2B5EF4-FFF2-40B4-BE49-F238E27FC236}">
                          <a16:creationId xmlns:a16="http://schemas.microsoft.com/office/drawing/2014/main" id="{872098F5-75F4-8C04-286F-2742AADEBB6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6"/>
                    <a:stretch>
                      <a:fillRect/>
                    </a:stretch>
                  </p:blipFill>
                  <p:spPr>
                    <a:xfrm>
                      <a:off x="6420731" y="2285939"/>
                      <a:ext cx="64319" cy="198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7">
                  <p14:nvContentPartPr>
                    <p14:cNvPr id="887" name="Input penna 886">
                      <a:extLst>
                        <a:ext uri="{FF2B5EF4-FFF2-40B4-BE49-F238E27FC236}">
                          <a16:creationId xmlns:a16="http://schemas.microsoft.com/office/drawing/2014/main" id="{F6E6A140-939F-C071-372F-5D18846E6F1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30031" y="2240970"/>
                    <a:ext cx="69120" cy="3600"/>
                  </p14:xfrm>
                </p:contentPart>
              </mc:Choice>
              <mc:Fallback xmlns="">
                <p:pic>
                  <p:nvPicPr>
                    <p:cNvPr id="887" name="Input penna 886">
                      <a:extLst>
                        <a:ext uri="{FF2B5EF4-FFF2-40B4-BE49-F238E27FC236}">
                          <a16:creationId xmlns:a16="http://schemas.microsoft.com/office/drawing/2014/main" id="{F6E6A140-939F-C071-372F-5D18846E6F1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8"/>
                    <a:stretch>
                      <a:fillRect/>
                    </a:stretch>
                  </p:blipFill>
                  <p:spPr>
                    <a:xfrm>
                      <a:off x="6425034" y="2236170"/>
                      <a:ext cx="79113" cy="132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9">
                  <p14:nvContentPartPr>
                    <p14:cNvPr id="888" name="Input penna 887">
                      <a:extLst>
                        <a:ext uri="{FF2B5EF4-FFF2-40B4-BE49-F238E27FC236}">
                          <a16:creationId xmlns:a16="http://schemas.microsoft.com/office/drawing/2014/main" id="{AFD3BF57-7D04-15CB-3F3D-5E443CA7AD5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43711" y="2212890"/>
                    <a:ext cx="123840" cy="12960"/>
                  </p14:xfrm>
                </p:contentPart>
              </mc:Choice>
              <mc:Fallback xmlns="">
                <p:pic>
                  <p:nvPicPr>
                    <p:cNvPr id="888" name="Input penna 887">
                      <a:extLst>
                        <a:ext uri="{FF2B5EF4-FFF2-40B4-BE49-F238E27FC236}">
                          <a16:creationId xmlns:a16="http://schemas.microsoft.com/office/drawing/2014/main" id="{AFD3BF57-7D04-15CB-3F3D-5E443CA7AD5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0"/>
                    <a:stretch>
                      <a:fillRect/>
                    </a:stretch>
                  </p:blipFill>
                  <p:spPr>
                    <a:xfrm>
                      <a:off x="6438690" y="2207873"/>
                      <a:ext cx="133881" cy="2299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41">
                  <p14:nvContentPartPr>
                    <p14:cNvPr id="889" name="Input penna 888">
                      <a:extLst>
                        <a:ext uri="{FF2B5EF4-FFF2-40B4-BE49-F238E27FC236}">
                          <a16:creationId xmlns:a16="http://schemas.microsoft.com/office/drawing/2014/main" id="{26602822-F7F9-4D8F-38A1-0411A6E934B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36591" y="2209650"/>
                    <a:ext cx="77400" cy="2880"/>
                  </p14:xfrm>
                </p:contentPart>
              </mc:Choice>
              <mc:Fallback xmlns="">
                <p:pic>
                  <p:nvPicPr>
                    <p:cNvPr id="889" name="Input penna 888">
                      <a:extLst>
                        <a:ext uri="{FF2B5EF4-FFF2-40B4-BE49-F238E27FC236}">
                          <a16:creationId xmlns:a16="http://schemas.microsoft.com/office/drawing/2014/main" id="{26602822-F7F9-4D8F-38A1-0411A6E934B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2"/>
                    <a:stretch>
                      <a:fillRect/>
                    </a:stretch>
                  </p:blipFill>
                  <p:spPr>
                    <a:xfrm>
                      <a:off x="6531570" y="2203890"/>
                      <a:ext cx="87441" cy="144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43">
                  <p14:nvContentPartPr>
                    <p14:cNvPr id="890" name="Input penna 889">
                      <a:extLst>
                        <a:ext uri="{FF2B5EF4-FFF2-40B4-BE49-F238E27FC236}">
                          <a16:creationId xmlns:a16="http://schemas.microsoft.com/office/drawing/2014/main" id="{AF17F43F-8E94-638F-E78F-AD05F81ABF8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13911" y="2343210"/>
                    <a:ext cx="110520" cy="243360"/>
                  </p14:xfrm>
                </p:contentPart>
              </mc:Choice>
              <mc:Fallback xmlns="">
                <p:pic>
                  <p:nvPicPr>
                    <p:cNvPr id="890" name="Input penna 889">
                      <a:extLst>
                        <a:ext uri="{FF2B5EF4-FFF2-40B4-BE49-F238E27FC236}">
                          <a16:creationId xmlns:a16="http://schemas.microsoft.com/office/drawing/2014/main" id="{AF17F43F-8E94-638F-E78F-AD05F81ABF8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4"/>
                    <a:stretch>
                      <a:fillRect/>
                    </a:stretch>
                  </p:blipFill>
                  <p:spPr>
                    <a:xfrm>
                      <a:off x="6508925" y="2338201"/>
                      <a:ext cx="120492" cy="253378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646" name="Gruppo 645">
                <a:extLst>
                  <a:ext uri="{FF2B5EF4-FFF2-40B4-BE49-F238E27FC236}">
                    <a16:creationId xmlns:a16="http://schemas.microsoft.com/office/drawing/2014/main" id="{5371298F-00A2-01F0-6815-4B342655A82F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355628" y="5369297"/>
                <a:ext cx="190800" cy="280800"/>
                <a:chOff x="6355628" y="5369297"/>
                <a:chExt cx="190800" cy="280800"/>
              </a:xfrm>
              <a:solidFill>
                <a:schemeClr val="accent3"/>
              </a:solidFill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645">
                  <p14:nvContentPartPr>
                    <p14:cNvPr id="669" name="Input penna 668">
                      <a:extLst>
                        <a:ext uri="{FF2B5EF4-FFF2-40B4-BE49-F238E27FC236}">
                          <a16:creationId xmlns:a16="http://schemas.microsoft.com/office/drawing/2014/main" id="{3CC8F190-5A4B-F173-E88C-79C2E0DEDAC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33108" y="5393057"/>
                    <a:ext cx="10080" cy="257040"/>
                  </p14:xfrm>
                </p:contentPart>
              </mc:Choice>
              <mc:Fallback xmlns="">
                <p:pic>
                  <p:nvPicPr>
                    <p:cNvPr id="669" name="Input penna 668">
                      <a:extLst>
                        <a:ext uri="{FF2B5EF4-FFF2-40B4-BE49-F238E27FC236}">
                          <a16:creationId xmlns:a16="http://schemas.microsoft.com/office/drawing/2014/main" id="{3CC8F190-5A4B-F173-E88C-79C2E0DEDAC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6"/>
                    <a:stretch>
                      <a:fillRect/>
                    </a:stretch>
                  </p:blipFill>
                  <p:spPr>
                    <a:xfrm>
                      <a:off x="6528270" y="5388058"/>
                      <a:ext cx="19757" cy="26703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47">
                  <p14:nvContentPartPr>
                    <p14:cNvPr id="670" name="Input penna 669">
                      <a:extLst>
                        <a:ext uri="{FF2B5EF4-FFF2-40B4-BE49-F238E27FC236}">
                          <a16:creationId xmlns:a16="http://schemas.microsoft.com/office/drawing/2014/main" id="{7AED5731-3235-E26A-934E-E6727EBDEDB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78308" y="5369297"/>
                    <a:ext cx="167040" cy="26280"/>
                  </p14:xfrm>
                </p:contentPart>
              </mc:Choice>
              <mc:Fallback xmlns="">
                <p:pic>
                  <p:nvPicPr>
                    <p:cNvPr id="670" name="Input penna 669">
                      <a:extLst>
                        <a:ext uri="{FF2B5EF4-FFF2-40B4-BE49-F238E27FC236}">
                          <a16:creationId xmlns:a16="http://schemas.microsoft.com/office/drawing/2014/main" id="{7AED5731-3235-E26A-934E-E6727EBDEDB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8"/>
                    <a:stretch>
                      <a:fillRect/>
                    </a:stretch>
                  </p:blipFill>
                  <p:spPr>
                    <a:xfrm>
                      <a:off x="6373297" y="5364291"/>
                      <a:ext cx="177062" cy="362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49">
                  <p14:nvContentPartPr>
                    <p14:cNvPr id="671" name="Input penna 670">
                      <a:extLst>
                        <a:ext uri="{FF2B5EF4-FFF2-40B4-BE49-F238E27FC236}">
                          <a16:creationId xmlns:a16="http://schemas.microsoft.com/office/drawing/2014/main" id="{F9260FDB-5155-0BD6-799B-C4694524E11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55628" y="5591777"/>
                    <a:ext cx="49680" cy="21240"/>
                  </p14:xfrm>
                </p:contentPart>
              </mc:Choice>
              <mc:Fallback xmlns="">
                <p:pic>
                  <p:nvPicPr>
                    <p:cNvPr id="671" name="Input penna 670">
                      <a:extLst>
                        <a:ext uri="{FF2B5EF4-FFF2-40B4-BE49-F238E27FC236}">
                          <a16:creationId xmlns:a16="http://schemas.microsoft.com/office/drawing/2014/main" id="{F9260FDB-5155-0BD6-799B-C4694524E11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0"/>
                    <a:stretch>
                      <a:fillRect/>
                    </a:stretch>
                  </p:blipFill>
                  <p:spPr>
                    <a:xfrm>
                      <a:off x="6350618" y="5586779"/>
                      <a:ext cx="59699" cy="3123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51">
                  <p14:nvContentPartPr>
                    <p14:cNvPr id="672" name="Input penna 671">
                      <a:extLst>
                        <a:ext uri="{FF2B5EF4-FFF2-40B4-BE49-F238E27FC236}">
                          <a16:creationId xmlns:a16="http://schemas.microsoft.com/office/drawing/2014/main" id="{6B0523CD-E1B4-EC77-8D97-E717AAECC19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1068" y="5587457"/>
                    <a:ext cx="135360" cy="42120"/>
                  </p14:xfrm>
                </p:contentPart>
              </mc:Choice>
              <mc:Fallback xmlns="">
                <p:pic>
                  <p:nvPicPr>
                    <p:cNvPr id="672" name="Input penna 671">
                      <a:extLst>
                        <a:ext uri="{FF2B5EF4-FFF2-40B4-BE49-F238E27FC236}">
                          <a16:creationId xmlns:a16="http://schemas.microsoft.com/office/drawing/2014/main" id="{6B0523CD-E1B4-EC77-8D97-E717AAECC19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2"/>
                    <a:stretch>
                      <a:fillRect/>
                    </a:stretch>
                  </p:blipFill>
                  <p:spPr>
                    <a:xfrm>
                      <a:off x="6406055" y="5582453"/>
                      <a:ext cx="145387" cy="5212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53">
                  <p14:nvContentPartPr>
                    <p14:cNvPr id="673" name="Input penna 672">
                      <a:extLst>
                        <a:ext uri="{FF2B5EF4-FFF2-40B4-BE49-F238E27FC236}">
                          <a16:creationId xmlns:a16="http://schemas.microsoft.com/office/drawing/2014/main" id="{FDAFCB45-84B5-BA3B-13E9-EA74B09B870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3588" y="5386217"/>
                    <a:ext cx="6120" cy="185760"/>
                  </p14:xfrm>
                </p:contentPart>
              </mc:Choice>
              <mc:Fallback xmlns="">
                <p:pic>
                  <p:nvPicPr>
                    <p:cNvPr id="673" name="Input penna 672">
                      <a:extLst>
                        <a:ext uri="{FF2B5EF4-FFF2-40B4-BE49-F238E27FC236}">
                          <a16:creationId xmlns:a16="http://schemas.microsoft.com/office/drawing/2014/main" id="{FDAFCB45-84B5-BA3B-13E9-EA74B09B870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4"/>
                    <a:stretch>
                      <a:fillRect/>
                    </a:stretch>
                  </p:blipFill>
                  <p:spPr>
                    <a:xfrm>
                      <a:off x="6408692" y="5381208"/>
                      <a:ext cx="15912" cy="195779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647" name="Gruppo 646">
                <a:extLst>
                  <a:ext uri="{FF2B5EF4-FFF2-40B4-BE49-F238E27FC236}">
                    <a16:creationId xmlns:a16="http://schemas.microsoft.com/office/drawing/2014/main" id="{0B9D0939-2F30-59F8-FE1E-F9D37CAA747A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4134092" y="4482984"/>
                <a:ext cx="273600" cy="452160"/>
                <a:chOff x="4134092" y="4482984"/>
                <a:chExt cx="273600" cy="452160"/>
              </a:xfrm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655">
                  <p14:nvContentPartPr>
                    <p14:cNvPr id="661" name="Input penna 660">
                      <a:extLst>
                        <a:ext uri="{FF2B5EF4-FFF2-40B4-BE49-F238E27FC236}">
                          <a16:creationId xmlns:a16="http://schemas.microsoft.com/office/drawing/2014/main" id="{C4EFC8B1-A870-A557-A658-4B8755AC1C1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75852" y="4818144"/>
                    <a:ext cx="231840" cy="82080"/>
                  </p14:xfrm>
                </p:contentPart>
              </mc:Choice>
              <mc:Fallback xmlns="">
                <p:pic>
                  <p:nvPicPr>
                    <p:cNvPr id="661" name="Input penna 660">
                      <a:extLst>
                        <a:ext uri="{FF2B5EF4-FFF2-40B4-BE49-F238E27FC236}">
                          <a16:creationId xmlns:a16="http://schemas.microsoft.com/office/drawing/2014/main" id="{C4EFC8B1-A870-A557-A658-4B8755AC1C1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6"/>
                    <a:stretch>
                      <a:fillRect/>
                    </a:stretch>
                  </p:blipFill>
                  <p:spPr>
                    <a:xfrm>
                      <a:off x="4170839" y="4813119"/>
                      <a:ext cx="241866" cy="9213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57">
                  <p14:nvContentPartPr>
                    <p14:cNvPr id="662" name="Input penna 661">
                      <a:extLst>
                        <a:ext uri="{FF2B5EF4-FFF2-40B4-BE49-F238E27FC236}">
                          <a16:creationId xmlns:a16="http://schemas.microsoft.com/office/drawing/2014/main" id="{2260B64D-D9A1-682B-4524-EEF3694FFDB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78732" y="4871424"/>
                    <a:ext cx="210960" cy="63720"/>
                  </p14:xfrm>
                </p:contentPart>
              </mc:Choice>
              <mc:Fallback xmlns="">
                <p:pic>
                  <p:nvPicPr>
                    <p:cNvPr id="662" name="Input penna 661">
                      <a:extLst>
                        <a:ext uri="{FF2B5EF4-FFF2-40B4-BE49-F238E27FC236}">
                          <a16:creationId xmlns:a16="http://schemas.microsoft.com/office/drawing/2014/main" id="{2260B64D-D9A1-682B-4524-EEF3694FFDB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8"/>
                    <a:stretch>
                      <a:fillRect/>
                    </a:stretch>
                  </p:blipFill>
                  <p:spPr>
                    <a:xfrm>
                      <a:off x="4173719" y="4866426"/>
                      <a:ext cx="220986" cy="737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59">
                  <p14:nvContentPartPr>
                    <p14:cNvPr id="663" name="Input penna 662">
                      <a:extLst>
                        <a:ext uri="{FF2B5EF4-FFF2-40B4-BE49-F238E27FC236}">
                          <a16:creationId xmlns:a16="http://schemas.microsoft.com/office/drawing/2014/main" id="{47A00D25-AD49-49F5-DD4E-2F9EECA4334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48292" y="4589184"/>
                    <a:ext cx="56880" cy="18000"/>
                  </p14:xfrm>
                </p:contentPart>
              </mc:Choice>
              <mc:Fallback xmlns="">
                <p:pic>
                  <p:nvPicPr>
                    <p:cNvPr id="663" name="Input penna 662">
                      <a:extLst>
                        <a:ext uri="{FF2B5EF4-FFF2-40B4-BE49-F238E27FC236}">
                          <a16:creationId xmlns:a16="http://schemas.microsoft.com/office/drawing/2014/main" id="{47A00D25-AD49-49F5-DD4E-2F9EECA4334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0"/>
                    <a:stretch>
                      <a:fillRect/>
                    </a:stretch>
                  </p:blipFill>
                  <p:spPr>
                    <a:xfrm>
                      <a:off x="4343273" y="4584161"/>
                      <a:ext cx="66918" cy="280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1">
                  <p14:nvContentPartPr>
                    <p14:cNvPr id="664" name="Input penna 663">
                      <a:extLst>
                        <a:ext uri="{FF2B5EF4-FFF2-40B4-BE49-F238E27FC236}">
                          <a16:creationId xmlns:a16="http://schemas.microsoft.com/office/drawing/2014/main" id="{13EC09EC-F670-68E0-4D9A-C10559D177A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296452" y="4610064"/>
                    <a:ext cx="101520" cy="16200"/>
                  </p14:xfrm>
                </p:contentPart>
              </mc:Choice>
              <mc:Fallback xmlns="">
                <p:pic>
                  <p:nvPicPr>
                    <p:cNvPr id="664" name="Input penna 663">
                      <a:extLst>
                        <a:ext uri="{FF2B5EF4-FFF2-40B4-BE49-F238E27FC236}">
                          <a16:creationId xmlns:a16="http://schemas.microsoft.com/office/drawing/2014/main" id="{13EC09EC-F670-68E0-4D9A-C10559D177A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2"/>
                    <a:stretch>
                      <a:fillRect/>
                    </a:stretch>
                  </p:blipFill>
                  <p:spPr>
                    <a:xfrm>
                      <a:off x="4291439" y="4605079"/>
                      <a:ext cx="111547" cy="261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3">
                  <p14:nvContentPartPr>
                    <p14:cNvPr id="665" name="Input penna 664">
                      <a:extLst>
                        <a:ext uri="{FF2B5EF4-FFF2-40B4-BE49-F238E27FC236}">
                          <a16:creationId xmlns:a16="http://schemas.microsoft.com/office/drawing/2014/main" id="{3A74B4E5-6084-FA29-39C9-0877C570F68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34092" y="4493424"/>
                    <a:ext cx="231480" cy="48600"/>
                  </p14:xfrm>
                </p:contentPart>
              </mc:Choice>
              <mc:Fallback xmlns="">
                <p:pic>
                  <p:nvPicPr>
                    <p:cNvPr id="665" name="Input penna 664">
                      <a:extLst>
                        <a:ext uri="{FF2B5EF4-FFF2-40B4-BE49-F238E27FC236}">
                          <a16:creationId xmlns:a16="http://schemas.microsoft.com/office/drawing/2014/main" id="{3A74B4E5-6084-FA29-39C9-0877C570F68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4"/>
                    <a:stretch>
                      <a:fillRect/>
                    </a:stretch>
                  </p:blipFill>
                  <p:spPr>
                    <a:xfrm>
                      <a:off x="4129078" y="4488439"/>
                      <a:ext cx="241508" cy="585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5">
                  <p14:nvContentPartPr>
                    <p14:cNvPr id="666" name="Input penna 665">
                      <a:extLst>
                        <a:ext uri="{FF2B5EF4-FFF2-40B4-BE49-F238E27FC236}">
                          <a16:creationId xmlns:a16="http://schemas.microsoft.com/office/drawing/2014/main" id="{84AE874C-2FD4-C81F-74D1-6EF850AD505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66652" y="4482984"/>
                    <a:ext cx="8280" cy="81360"/>
                  </p14:xfrm>
                </p:contentPart>
              </mc:Choice>
              <mc:Fallback xmlns="">
                <p:pic>
                  <p:nvPicPr>
                    <p:cNvPr id="666" name="Input penna 665">
                      <a:extLst>
                        <a:ext uri="{FF2B5EF4-FFF2-40B4-BE49-F238E27FC236}">
                          <a16:creationId xmlns:a16="http://schemas.microsoft.com/office/drawing/2014/main" id="{84AE874C-2FD4-C81F-74D1-6EF850AD505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6"/>
                    <a:stretch>
                      <a:fillRect/>
                    </a:stretch>
                  </p:blipFill>
                  <p:spPr>
                    <a:xfrm>
                      <a:off x="4361684" y="4477977"/>
                      <a:ext cx="18216" cy="913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7">
                  <p14:nvContentPartPr>
                    <p14:cNvPr id="667" name="Input penna 666">
                      <a:extLst>
                        <a:ext uri="{FF2B5EF4-FFF2-40B4-BE49-F238E27FC236}">
                          <a16:creationId xmlns:a16="http://schemas.microsoft.com/office/drawing/2014/main" id="{84C7E9C1-38C6-2BAB-BC91-9965AE52C74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67572" y="4585224"/>
                    <a:ext cx="33120" cy="243000"/>
                  </p14:xfrm>
                </p:contentPart>
              </mc:Choice>
              <mc:Fallback xmlns="">
                <p:pic>
                  <p:nvPicPr>
                    <p:cNvPr id="667" name="Input penna 666">
                      <a:extLst>
                        <a:ext uri="{FF2B5EF4-FFF2-40B4-BE49-F238E27FC236}">
                          <a16:creationId xmlns:a16="http://schemas.microsoft.com/office/drawing/2014/main" id="{84C7E9C1-38C6-2BAB-BC91-9965AE52C74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8"/>
                    <a:stretch>
                      <a:fillRect/>
                    </a:stretch>
                  </p:blipFill>
                  <p:spPr>
                    <a:xfrm>
                      <a:off x="4162541" y="4580214"/>
                      <a:ext cx="43182" cy="2530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9">
                  <p14:nvContentPartPr>
                    <p14:cNvPr id="668" name="Input penna 667">
                      <a:extLst>
                        <a:ext uri="{FF2B5EF4-FFF2-40B4-BE49-F238E27FC236}">
                          <a16:creationId xmlns:a16="http://schemas.microsoft.com/office/drawing/2014/main" id="{8E02A78E-B14E-D139-0826-E6C97CB3F3C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242812" y="4599984"/>
                    <a:ext cx="36720" cy="252720"/>
                  </p14:xfrm>
                </p:contentPart>
              </mc:Choice>
              <mc:Fallback xmlns="">
                <p:pic>
                  <p:nvPicPr>
                    <p:cNvPr id="668" name="Input penna 667">
                      <a:extLst>
                        <a:ext uri="{FF2B5EF4-FFF2-40B4-BE49-F238E27FC236}">
                          <a16:creationId xmlns:a16="http://schemas.microsoft.com/office/drawing/2014/main" id="{8E02A78E-B14E-D139-0826-E6C97CB3F3C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0"/>
                    <a:stretch>
                      <a:fillRect/>
                    </a:stretch>
                  </p:blipFill>
                  <p:spPr>
                    <a:xfrm>
                      <a:off x="4237805" y="4594971"/>
                      <a:ext cx="46735" cy="262745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648" name="Gruppo 647">
                <a:extLst>
                  <a:ext uri="{FF2B5EF4-FFF2-40B4-BE49-F238E27FC236}">
                    <a16:creationId xmlns:a16="http://schemas.microsoft.com/office/drawing/2014/main" id="{FB0D49AB-058B-5BD3-8216-8D7D7D9CC165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199076" y="3726107"/>
                <a:ext cx="68400" cy="60120"/>
                <a:chOff x="6199076" y="3726107"/>
                <a:chExt cx="68400" cy="60120"/>
              </a:xfrm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671">
                  <p14:nvContentPartPr>
                    <p14:cNvPr id="657" name="Input penna 656">
                      <a:extLst>
                        <a:ext uri="{FF2B5EF4-FFF2-40B4-BE49-F238E27FC236}">
                          <a16:creationId xmlns:a16="http://schemas.microsoft.com/office/drawing/2014/main" id="{70012251-A90D-A937-DD85-F731736C615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99076" y="3726107"/>
                    <a:ext cx="54000" cy="57960"/>
                  </p14:xfrm>
                </p:contentPart>
              </mc:Choice>
              <mc:Fallback xmlns="">
                <p:pic>
                  <p:nvPicPr>
                    <p:cNvPr id="657" name="Input penna 656">
                      <a:extLst>
                        <a:ext uri="{FF2B5EF4-FFF2-40B4-BE49-F238E27FC236}">
                          <a16:creationId xmlns:a16="http://schemas.microsoft.com/office/drawing/2014/main" id="{70012251-A90D-A937-DD85-F731736C615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2"/>
                    <a:stretch>
                      <a:fillRect/>
                    </a:stretch>
                  </p:blipFill>
                  <p:spPr>
                    <a:xfrm>
                      <a:off x="6194091" y="3721067"/>
                      <a:ext cx="63969" cy="6804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73">
                  <p14:nvContentPartPr>
                    <p14:cNvPr id="658" name="Input penna 657">
                      <a:extLst>
                        <a:ext uri="{FF2B5EF4-FFF2-40B4-BE49-F238E27FC236}">
                          <a16:creationId xmlns:a16="http://schemas.microsoft.com/office/drawing/2014/main" id="{47BC464A-5E32-02B1-5B81-C1189C73C8D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06636" y="3732587"/>
                    <a:ext cx="48240" cy="53640"/>
                  </p14:xfrm>
                </p:contentPart>
              </mc:Choice>
              <mc:Fallback xmlns="">
                <p:pic>
                  <p:nvPicPr>
                    <p:cNvPr id="658" name="Input penna 657">
                      <a:extLst>
                        <a:ext uri="{FF2B5EF4-FFF2-40B4-BE49-F238E27FC236}">
                          <a16:creationId xmlns:a16="http://schemas.microsoft.com/office/drawing/2014/main" id="{47BC464A-5E32-02B1-5B81-C1189C73C8D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4"/>
                    <a:stretch>
                      <a:fillRect/>
                    </a:stretch>
                  </p:blipFill>
                  <p:spPr>
                    <a:xfrm>
                      <a:off x="6201646" y="3727597"/>
                      <a:ext cx="58221" cy="636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75">
                  <p14:nvContentPartPr>
                    <p14:cNvPr id="659" name="Input penna 658">
                      <a:extLst>
                        <a:ext uri="{FF2B5EF4-FFF2-40B4-BE49-F238E27FC236}">
                          <a16:creationId xmlns:a16="http://schemas.microsoft.com/office/drawing/2014/main" id="{15756F26-086C-1CF0-3CC6-763376F91BA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43356" y="3740507"/>
                    <a:ext cx="24120" cy="28440"/>
                  </p14:xfrm>
                </p:contentPart>
              </mc:Choice>
              <mc:Fallback xmlns="">
                <p:pic>
                  <p:nvPicPr>
                    <p:cNvPr id="659" name="Input penna 658">
                      <a:extLst>
                        <a:ext uri="{FF2B5EF4-FFF2-40B4-BE49-F238E27FC236}">
                          <a16:creationId xmlns:a16="http://schemas.microsoft.com/office/drawing/2014/main" id="{15756F26-086C-1CF0-3CC6-763376F91BA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6"/>
                    <a:stretch>
                      <a:fillRect/>
                    </a:stretch>
                  </p:blipFill>
                  <p:spPr>
                    <a:xfrm>
                      <a:off x="6238366" y="3735488"/>
                      <a:ext cx="34101" cy="3847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77">
                  <p14:nvContentPartPr>
                    <p14:cNvPr id="660" name="Input penna 659">
                      <a:extLst>
                        <a:ext uri="{FF2B5EF4-FFF2-40B4-BE49-F238E27FC236}">
                          <a16:creationId xmlns:a16="http://schemas.microsoft.com/office/drawing/2014/main" id="{67599B1F-775E-A551-8A71-11994A8C05B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14196" y="3751307"/>
                    <a:ext cx="25920" cy="22680"/>
                  </p14:xfrm>
                </p:contentPart>
              </mc:Choice>
              <mc:Fallback xmlns="">
                <p:pic>
                  <p:nvPicPr>
                    <p:cNvPr id="660" name="Input penna 659">
                      <a:extLst>
                        <a:ext uri="{FF2B5EF4-FFF2-40B4-BE49-F238E27FC236}">
                          <a16:creationId xmlns:a16="http://schemas.microsoft.com/office/drawing/2014/main" id="{67599B1F-775E-A551-8A71-11994A8C05B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8"/>
                    <a:stretch>
                      <a:fillRect/>
                    </a:stretch>
                  </p:blipFill>
                  <p:spPr>
                    <a:xfrm>
                      <a:off x="6209179" y="3746267"/>
                      <a:ext cx="35954" cy="32760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649" name="Gruppo 648">
                <a:extLst>
                  <a:ext uri="{FF2B5EF4-FFF2-40B4-BE49-F238E27FC236}">
                    <a16:creationId xmlns:a16="http://schemas.microsoft.com/office/drawing/2014/main" id="{9B2856B8-32A7-8935-2A2F-F52ADDDD1C54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336709" y="2119337"/>
                <a:ext cx="97200" cy="251280"/>
                <a:chOff x="6336709" y="2119337"/>
                <a:chExt cx="97200" cy="251280"/>
              </a:xfrm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679">
                  <p14:nvContentPartPr>
                    <p14:cNvPr id="651" name="Input penna 650">
                      <a:extLst>
                        <a:ext uri="{FF2B5EF4-FFF2-40B4-BE49-F238E27FC236}">
                          <a16:creationId xmlns:a16="http://schemas.microsoft.com/office/drawing/2014/main" id="{29C73E2C-B277-CDCB-F760-A0D9484E1EA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6709" y="2119337"/>
                    <a:ext cx="4680" cy="241200"/>
                  </p14:xfrm>
                </p:contentPart>
              </mc:Choice>
              <mc:Fallback xmlns="">
                <p:pic>
                  <p:nvPicPr>
                    <p:cNvPr id="651" name="Input penna 650">
                      <a:extLst>
                        <a:ext uri="{FF2B5EF4-FFF2-40B4-BE49-F238E27FC236}">
                          <a16:creationId xmlns:a16="http://schemas.microsoft.com/office/drawing/2014/main" id="{29C73E2C-B277-CDCB-F760-A0D9484E1EA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0"/>
                    <a:stretch>
                      <a:fillRect/>
                    </a:stretch>
                  </p:blipFill>
                  <p:spPr>
                    <a:xfrm>
                      <a:off x="6331093" y="2114321"/>
                      <a:ext cx="15912" cy="2512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1">
                  <p14:nvContentPartPr>
                    <p14:cNvPr id="652" name="Input penna 651">
                      <a:extLst>
                        <a:ext uri="{FF2B5EF4-FFF2-40B4-BE49-F238E27FC236}">
                          <a16:creationId xmlns:a16="http://schemas.microsoft.com/office/drawing/2014/main" id="{F8840696-107B-8BB3-18C7-7776B92DF7B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0869" y="2127977"/>
                    <a:ext cx="9000" cy="216720"/>
                  </p14:xfrm>
                </p:contentPart>
              </mc:Choice>
              <mc:Fallback xmlns="">
                <p:pic>
                  <p:nvPicPr>
                    <p:cNvPr id="652" name="Input penna 651">
                      <a:extLst>
                        <a:ext uri="{FF2B5EF4-FFF2-40B4-BE49-F238E27FC236}">
                          <a16:creationId xmlns:a16="http://schemas.microsoft.com/office/drawing/2014/main" id="{F8840696-107B-8BB3-18C7-7776B92DF7B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2"/>
                    <a:stretch>
                      <a:fillRect/>
                    </a:stretch>
                  </p:blipFill>
                  <p:spPr>
                    <a:xfrm>
                      <a:off x="6405726" y="2122966"/>
                      <a:ext cx="19286" cy="2267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3">
                  <p14:nvContentPartPr>
                    <p14:cNvPr id="653" name="Input penna 652">
                      <a:extLst>
                        <a:ext uri="{FF2B5EF4-FFF2-40B4-BE49-F238E27FC236}">
                          <a16:creationId xmlns:a16="http://schemas.microsoft.com/office/drawing/2014/main" id="{6729A3E1-9AA1-49BF-0F19-35E291CF720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7429" y="2346857"/>
                    <a:ext cx="84240" cy="19440"/>
                  </p14:xfrm>
                </p:contentPart>
              </mc:Choice>
              <mc:Fallback xmlns="">
                <p:pic>
                  <p:nvPicPr>
                    <p:cNvPr id="653" name="Input penna 652">
                      <a:extLst>
                        <a:ext uri="{FF2B5EF4-FFF2-40B4-BE49-F238E27FC236}">
                          <a16:creationId xmlns:a16="http://schemas.microsoft.com/office/drawing/2014/main" id="{6729A3E1-9AA1-49BF-0F19-35E291CF720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4"/>
                    <a:stretch>
                      <a:fillRect/>
                    </a:stretch>
                  </p:blipFill>
                  <p:spPr>
                    <a:xfrm>
                      <a:off x="6332425" y="2341894"/>
                      <a:ext cx="94249" cy="2936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5">
                  <p14:nvContentPartPr>
                    <p14:cNvPr id="654" name="Input penna 653">
                      <a:extLst>
                        <a:ext uri="{FF2B5EF4-FFF2-40B4-BE49-F238E27FC236}">
                          <a16:creationId xmlns:a16="http://schemas.microsoft.com/office/drawing/2014/main" id="{416293FB-FD68-94B5-DC2C-222FDB5E769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0589" y="2131217"/>
                    <a:ext cx="7560" cy="200880"/>
                  </p14:xfrm>
                </p:contentPart>
              </mc:Choice>
              <mc:Fallback xmlns="">
                <p:pic>
                  <p:nvPicPr>
                    <p:cNvPr id="654" name="Input penna 653">
                      <a:extLst>
                        <a:ext uri="{FF2B5EF4-FFF2-40B4-BE49-F238E27FC236}">
                          <a16:creationId xmlns:a16="http://schemas.microsoft.com/office/drawing/2014/main" id="{416293FB-FD68-94B5-DC2C-222FDB5E769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6"/>
                    <a:stretch>
                      <a:fillRect/>
                    </a:stretch>
                  </p:blipFill>
                  <p:spPr>
                    <a:xfrm>
                      <a:off x="6415549" y="2126205"/>
                      <a:ext cx="17640" cy="21090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7">
                  <p14:nvContentPartPr>
                    <p14:cNvPr id="655" name="Input penna 654">
                      <a:extLst>
                        <a:ext uri="{FF2B5EF4-FFF2-40B4-BE49-F238E27FC236}">
                          <a16:creationId xmlns:a16="http://schemas.microsoft.com/office/drawing/2014/main" id="{8FCB85D0-A82F-5A33-C958-444BACDFA18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9229" y="2121497"/>
                    <a:ext cx="94680" cy="15840"/>
                  </p14:xfrm>
                </p:contentPart>
              </mc:Choice>
              <mc:Fallback xmlns="">
                <p:pic>
                  <p:nvPicPr>
                    <p:cNvPr id="655" name="Input penna 654">
                      <a:extLst>
                        <a:ext uri="{FF2B5EF4-FFF2-40B4-BE49-F238E27FC236}">
                          <a16:creationId xmlns:a16="http://schemas.microsoft.com/office/drawing/2014/main" id="{8FCB85D0-A82F-5A33-C958-444BACDFA18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8"/>
                    <a:stretch>
                      <a:fillRect/>
                    </a:stretch>
                  </p:blipFill>
                  <p:spPr>
                    <a:xfrm>
                      <a:off x="6334224" y="2116495"/>
                      <a:ext cx="104690" cy="2584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9">
                  <p14:nvContentPartPr>
                    <p14:cNvPr id="656" name="Input penna 655">
                      <a:extLst>
                        <a:ext uri="{FF2B5EF4-FFF2-40B4-BE49-F238E27FC236}">
                          <a16:creationId xmlns:a16="http://schemas.microsoft.com/office/drawing/2014/main" id="{3CAB635C-5E99-98CE-E2B5-FFCD0160E91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7069" y="2121497"/>
                    <a:ext cx="95040" cy="249120"/>
                  </p14:xfrm>
                </p:contentPart>
              </mc:Choice>
              <mc:Fallback xmlns="">
                <p:pic>
                  <p:nvPicPr>
                    <p:cNvPr id="656" name="Input penna 655">
                      <a:extLst>
                        <a:ext uri="{FF2B5EF4-FFF2-40B4-BE49-F238E27FC236}">
                          <a16:creationId xmlns:a16="http://schemas.microsoft.com/office/drawing/2014/main" id="{3CAB635C-5E99-98CE-E2B5-FFCD0160E91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90"/>
                    <a:stretch>
                      <a:fillRect/>
                    </a:stretch>
                  </p:blipFill>
                  <p:spPr>
                    <a:xfrm>
                      <a:off x="6332089" y="2116481"/>
                      <a:ext cx="105001" cy="259152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mc:AlternateContent xmlns:mc="http://schemas.openxmlformats.org/markup-compatibility/2006" xmlns:p14="http://schemas.microsoft.com/office/powerpoint/2010/main">
            <mc:Choice Requires="p14">
              <p:contentPart p14:bwMode="auto" r:id="rId691">
                <p14:nvContentPartPr>
                  <p14:cNvPr id="650" name="Input penna 649">
                    <a:extLst>
                      <a:ext uri="{FF2B5EF4-FFF2-40B4-BE49-F238E27FC236}">
                        <a16:creationId xmlns:a16="http://schemas.microsoft.com/office/drawing/2014/main" id="{4568FB4F-AF8B-2853-1367-653222C34FD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268487" y="3579454"/>
                  <a:ext cx="35640" cy="45000"/>
                </p14:xfrm>
              </p:contentPart>
            </mc:Choice>
            <mc:Fallback xmlns="">
              <p:pic>
                <p:nvPicPr>
                  <p:cNvPr id="650" name="Input penna 649">
                    <a:extLst>
                      <a:ext uri="{FF2B5EF4-FFF2-40B4-BE49-F238E27FC236}">
                        <a16:creationId xmlns:a16="http://schemas.microsoft.com/office/drawing/2014/main" id="{4568FB4F-AF8B-2853-1367-653222C34FD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92"/>
                  <a:stretch>
                    <a:fillRect/>
                  </a:stretch>
                </p:blipFill>
                <p:spPr>
                  <a:xfrm>
                    <a:off x="6263514" y="3574454"/>
                    <a:ext cx="45586" cy="55000"/>
                  </a:xfrm>
                  <a:prstGeom prst="rect">
                    <a:avLst/>
                  </a:prstGeom>
                </p:spPr>
              </p:pic>
            </mc:Fallback>
          </mc:AlternateContent>
        </p:grpSp>
        <p:grpSp>
          <p:nvGrpSpPr>
            <p:cNvPr id="44" name="Gruppo 43">
              <a:extLst>
                <a:ext uri="{FF2B5EF4-FFF2-40B4-BE49-F238E27FC236}">
                  <a16:creationId xmlns:a16="http://schemas.microsoft.com/office/drawing/2014/main" id="{DEABC972-368F-AAD2-CA57-B540489217D0}"/>
                </a:ext>
              </a:extLst>
            </p:cNvPr>
            <p:cNvGrpSpPr/>
            <p:nvPr/>
          </p:nvGrpSpPr>
          <p:grpSpPr>
            <a:xfrm>
              <a:off x="4689257" y="4908000"/>
              <a:ext cx="2922480" cy="769320"/>
              <a:chOff x="4689257" y="4908000"/>
              <a:chExt cx="2922480" cy="769320"/>
            </a:xfrm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693">
                <p14:nvContentPartPr>
                  <p14:cNvPr id="17" name="Input penna 16">
                    <a:extLst>
                      <a:ext uri="{FF2B5EF4-FFF2-40B4-BE49-F238E27FC236}">
                        <a16:creationId xmlns:a16="http://schemas.microsoft.com/office/drawing/2014/main" id="{FBA8DE51-4E75-6BD2-5406-6232B675472A}"/>
                      </a:ext>
                    </a:extLst>
                  </p14:cNvPr>
                  <p14:cNvContentPartPr/>
                  <p14:nvPr/>
                </p14:nvContentPartPr>
                <p14:xfrm>
                  <a:off x="4703657" y="4932840"/>
                  <a:ext cx="6120" cy="66960"/>
                </p14:xfrm>
              </p:contentPart>
            </mc:Choice>
            <mc:Fallback xmlns="">
              <p:pic>
                <p:nvPicPr>
                  <p:cNvPr id="17" name="Input penna 16">
                    <a:extLst>
                      <a:ext uri="{FF2B5EF4-FFF2-40B4-BE49-F238E27FC236}">
                        <a16:creationId xmlns:a16="http://schemas.microsoft.com/office/drawing/2014/main" id="{FBA8DE51-4E75-6BD2-5406-6232B675472A}"/>
                      </a:ext>
                    </a:extLst>
                  </p:cNvPr>
                  <p:cNvPicPr/>
                  <p:nvPr/>
                </p:nvPicPr>
                <p:blipFill>
                  <a:blip r:embed="rId697"/>
                  <a:stretch>
                    <a:fillRect/>
                  </a:stretch>
                </p:blipFill>
                <p:spPr>
                  <a:xfrm>
                    <a:off x="4699577" y="4928520"/>
                    <a:ext cx="14280" cy="756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98">
                <p14:nvContentPartPr>
                  <p14:cNvPr id="27" name="Input penna 26">
                    <a:extLst>
                      <a:ext uri="{FF2B5EF4-FFF2-40B4-BE49-F238E27FC236}">
                        <a16:creationId xmlns:a16="http://schemas.microsoft.com/office/drawing/2014/main" id="{73F16A83-9783-07C6-F90F-2B6CE6AA347F}"/>
                      </a:ext>
                    </a:extLst>
                  </p14:cNvPr>
                  <p14:cNvContentPartPr/>
                  <p14:nvPr/>
                </p14:nvContentPartPr>
                <p14:xfrm>
                  <a:off x="4700057" y="4933560"/>
                  <a:ext cx="1440" cy="1080"/>
                </p14:xfrm>
              </p:contentPart>
            </mc:Choice>
            <mc:Fallback xmlns="">
              <p:pic>
                <p:nvPicPr>
                  <p:cNvPr id="27" name="Input penna 26">
                    <a:extLst>
                      <a:ext uri="{FF2B5EF4-FFF2-40B4-BE49-F238E27FC236}">
                        <a16:creationId xmlns:a16="http://schemas.microsoft.com/office/drawing/2014/main" id="{73F16A83-9783-07C6-F90F-2B6CE6AA347F}"/>
                      </a:ext>
                    </a:extLst>
                  </p:cNvPr>
                  <p:cNvPicPr/>
                  <p:nvPr/>
                </p:nvPicPr>
                <p:blipFill>
                  <a:blip r:embed="rId699"/>
                  <a:stretch>
                    <a:fillRect/>
                  </a:stretch>
                </p:blipFill>
                <p:spPr>
                  <a:xfrm>
                    <a:off x="4694297" y="4929240"/>
                    <a:ext cx="12960" cy="9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0">
                <p14:nvContentPartPr>
                  <p14:cNvPr id="28" name="Input penna 27">
                    <a:extLst>
                      <a:ext uri="{FF2B5EF4-FFF2-40B4-BE49-F238E27FC236}">
                        <a16:creationId xmlns:a16="http://schemas.microsoft.com/office/drawing/2014/main" id="{F579AA11-211E-C128-85DD-6FE0EE688A20}"/>
                      </a:ext>
                    </a:extLst>
                  </p14:cNvPr>
                  <p14:cNvContentPartPr/>
                  <p14:nvPr/>
                </p14:nvContentPartPr>
                <p14:xfrm>
                  <a:off x="4705457" y="4936080"/>
                  <a:ext cx="2175840" cy="666360"/>
                </p14:xfrm>
              </p:contentPart>
            </mc:Choice>
            <mc:Fallback xmlns="">
              <p:pic>
                <p:nvPicPr>
                  <p:cNvPr id="28" name="Input penna 27">
                    <a:extLst>
                      <a:ext uri="{FF2B5EF4-FFF2-40B4-BE49-F238E27FC236}">
                        <a16:creationId xmlns:a16="http://schemas.microsoft.com/office/drawing/2014/main" id="{F579AA11-211E-C128-85DD-6FE0EE688A20}"/>
                      </a:ext>
                    </a:extLst>
                  </p:cNvPr>
                  <p:cNvPicPr/>
                  <p:nvPr/>
                </p:nvPicPr>
                <p:blipFill>
                  <a:blip r:embed="rId701"/>
                  <a:stretch>
                    <a:fillRect/>
                  </a:stretch>
                </p:blipFill>
                <p:spPr>
                  <a:xfrm>
                    <a:off x="4701136" y="4931762"/>
                    <a:ext cx="2184481" cy="67499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2">
                <p14:nvContentPartPr>
                  <p14:cNvPr id="30" name="Input penna 29">
                    <a:extLst>
                      <a:ext uri="{FF2B5EF4-FFF2-40B4-BE49-F238E27FC236}">
                        <a16:creationId xmlns:a16="http://schemas.microsoft.com/office/drawing/2014/main" id="{6257E94A-895D-EB40-7AFC-459E885DB0DA}"/>
                      </a:ext>
                    </a:extLst>
                  </p14:cNvPr>
                  <p14:cNvContentPartPr/>
                  <p14:nvPr/>
                </p14:nvContentPartPr>
                <p14:xfrm>
                  <a:off x="4689257" y="4908000"/>
                  <a:ext cx="51120" cy="31680"/>
                </p14:xfrm>
              </p:contentPart>
            </mc:Choice>
            <mc:Fallback xmlns="">
              <p:pic>
                <p:nvPicPr>
                  <p:cNvPr id="30" name="Input penna 29">
                    <a:extLst>
                      <a:ext uri="{FF2B5EF4-FFF2-40B4-BE49-F238E27FC236}">
                        <a16:creationId xmlns:a16="http://schemas.microsoft.com/office/drawing/2014/main" id="{6257E94A-895D-EB40-7AFC-459E885DB0DA}"/>
                      </a:ext>
                    </a:extLst>
                  </p:cNvPr>
                  <p:cNvPicPr/>
                  <p:nvPr/>
                </p:nvPicPr>
                <p:blipFill>
                  <a:blip r:embed="rId703"/>
                  <a:stretch>
                    <a:fillRect/>
                  </a:stretch>
                </p:blipFill>
                <p:spPr>
                  <a:xfrm>
                    <a:off x="4684937" y="4903680"/>
                    <a:ext cx="59760" cy="403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4">
                <p14:nvContentPartPr>
                  <p14:cNvPr id="34" name="Input penna 33">
                    <a:extLst>
                      <a:ext uri="{FF2B5EF4-FFF2-40B4-BE49-F238E27FC236}">
                        <a16:creationId xmlns:a16="http://schemas.microsoft.com/office/drawing/2014/main" id="{7AACA7CF-4924-2A36-D5EE-4CB531B02445}"/>
                      </a:ext>
                    </a:extLst>
                  </p14:cNvPr>
                  <p14:cNvContentPartPr/>
                  <p14:nvPr/>
                </p14:nvContentPartPr>
                <p14:xfrm>
                  <a:off x="4704017" y="5011320"/>
                  <a:ext cx="2209680" cy="651240"/>
                </p14:xfrm>
              </p:contentPart>
            </mc:Choice>
            <mc:Fallback xmlns="">
              <p:pic>
                <p:nvPicPr>
                  <p:cNvPr id="34" name="Input penna 33">
                    <a:extLst>
                      <a:ext uri="{FF2B5EF4-FFF2-40B4-BE49-F238E27FC236}">
                        <a16:creationId xmlns:a16="http://schemas.microsoft.com/office/drawing/2014/main" id="{7AACA7CF-4924-2A36-D5EE-4CB531B02445}"/>
                      </a:ext>
                    </a:extLst>
                  </p:cNvPr>
                  <p:cNvPicPr/>
                  <p:nvPr/>
                </p:nvPicPr>
                <p:blipFill>
                  <a:blip r:embed="rId705"/>
                  <a:stretch>
                    <a:fillRect/>
                  </a:stretch>
                </p:blipFill>
                <p:spPr>
                  <a:xfrm>
                    <a:off x="4699697" y="5006998"/>
                    <a:ext cx="2218320" cy="65988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6">
                <p14:nvContentPartPr>
                  <p14:cNvPr id="35" name="Input penna 34">
                    <a:extLst>
                      <a:ext uri="{FF2B5EF4-FFF2-40B4-BE49-F238E27FC236}">
                        <a16:creationId xmlns:a16="http://schemas.microsoft.com/office/drawing/2014/main" id="{F8257F3E-C199-73E3-79B5-82BEBC58DAE9}"/>
                      </a:ext>
                    </a:extLst>
                  </p14:cNvPr>
                  <p14:cNvContentPartPr/>
                  <p14:nvPr/>
                </p14:nvContentPartPr>
                <p14:xfrm>
                  <a:off x="6880217" y="5589840"/>
                  <a:ext cx="25920" cy="87480"/>
                </p14:xfrm>
              </p:contentPart>
            </mc:Choice>
            <mc:Fallback xmlns="">
              <p:pic>
                <p:nvPicPr>
                  <p:cNvPr id="35" name="Input penna 34">
                    <a:extLst>
                      <a:ext uri="{FF2B5EF4-FFF2-40B4-BE49-F238E27FC236}">
                        <a16:creationId xmlns:a16="http://schemas.microsoft.com/office/drawing/2014/main" id="{F8257F3E-C199-73E3-79B5-82BEBC58DAE9}"/>
                      </a:ext>
                    </a:extLst>
                  </p:cNvPr>
                  <p:cNvPicPr/>
                  <p:nvPr/>
                </p:nvPicPr>
                <p:blipFill>
                  <a:blip r:embed="rId707"/>
                  <a:stretch>
                    <a:fillRect/>
                  </a:stretch>
                </p:blipFill>
                <p:spPr>
                  <a:xfrm>
                    <a:off x="6875897" y="5585520"/>
                    <a:ext cx="34560" cy="961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8">
                <p14:nvContentPartPr>
                  <p14:cNvPr id="37" name="Input penna 36">
                    <a:extLst>
                      <a:ext uri="{FF2B5EF4-FFF2-40B4-BE49-F238E27FC236}">
                        <a16:creationId xmlns:a16="http://schemas.microsoft.com/office/drawing/2014/main" id="{7EC374E2-80FB-4588-995B-0D933CD18E94}"/>
                      </a:ext>
                    </a:extLst>
                  </p14:cNvPr>
                  <p14:cNvContentPartPr/>
                  <p14:nvPr/>
                </p14:nvContentPartPr>
                <p14:xfrm>
                  <a:off x="6870857" y="5118240"/>
                  <a:ext cx="707040" cy="492120"/>
                </p14:xfrm>
              </p:contentPart>
            </mc:Choice>
            <mc:Fallback xmlns="">
              <p:pic>
                <p:nvPicPr>
                  <p:cNvPr id="37" name="Input penna 36">
                    <a:extLst>
                      <a:ext uri="{FF2B5EF4-FFF2-40B4-BE49-F238E27FC236}">
                        <a16:creationId xmlns:a16="http://schemas.microsoft.com/office/drawing/2014/main" id="{7EC374E2-80FB-4588-995B-0D933CD18E94}"/>
                      </a:ext>
                    </a:extLst>
                  </p:cNvPr>
                  <p:cNvPicPr/>
                  <p:nvPr/>
                </p:nvPicPr>
                <p:blipFill>
                  <a:blip r:embed="rId709"/>
                  <a:stretch>
                    <a:fillRect/>
                  </a:stretch>
                </p:blipFill>
                <p:spPr>
                  <a:xfrm>
                    <a:off x="6866537" y="5113920"/>
                    <a:ext cx="715680" cy="5007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10">
                <p14:nvContentPartPr>
                  <p14:cNvPr id="40" name="Input penna 39">
                    <a:extLst>
                      <a:ext uri="{FF2B5EF4-FFF2-40B4-BE49-F238E27FC236}">
                        <a16:creationId xmlns:a16="http://schemas.microsoft.com/office/drawing/2014/main" id="{C128387A-1E99-0EB6-C775-239EAD29998E}"/>
                      </a:ext>
                    </a:extLst>
                  </p14:cNvPr>
                  <p14:cNvContentPartPr/>
                  <p14:nvPr/>
                </p14:nvContentPartPr>
                <p14:xfrm>
                  <a:off x="6890297" y="5125800"/>
                  <a:ext cx="721440" cy="540720"/>
                </p14:xfrm>
              </p:contentPart>
            </mc:Choice>
            <mc:Fallback xmlns="">
              <p:pic>
                <p:nvPicPr>
                  <p:cNvPr id="40" name="Input penna 39">
                    <a:extLst>
                      <a:ext uri="{FF2B5EF4-FFF2-40B4-BE49-F238E27FC236}">
                        <a16:creationId xmlns:a16="http://schemas.microsoft.com/office/drawing/2014/main" id="{C128387A-1E99-0EB6-C775-239EAD29998E}"/>
                      </a:ext>
                    </a:extLst>
                  </p:cNvPr>
                  <p:cNvPicPr/>
                  <p:nvPr/>
                </p:nvPicPr>
                <p:blipFill>
                  <a:blip r:embed="rId711"/>
                  <a:stretch>
                    <a:fillRect/>
                  </a:stretch>
                </p:blipFill>
                <p:spPr>
                  <a:xfrm>
                    <a:off x="6885977" y="5121480"/>
                    <a:ext cx="730080" cy="5493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12">
                <p14:nvContentPartPr>
                  <p14:cNvPr id="41" name="Input penna 40">
                    <a:extLst>
                      <a:ext uri="{FF2B5EF4-FFF2-40B4-BE49-F238E27FC236}">
                        <a16:creationId xmlns:a16="http://schemas.microsoft.com/office/drawing/2014/main" id="{E373DC81-DC5E-59F8-F585-2827416CCADB}"/>
                      </a:ext>
                    </a:extLst>
                  </p14:cNvPr>
                  <p14:cNvContentPartPr/>
                  <p14:nvPr/>
                </p14:nvContentPartPr>
                <p14:xfrm>
                  <a:off x="7593377" y="5134440"/>
                  <a:ext cx="11160" cy="12240"/>
                </p14:xfrm>
              </p:contentPart>
            </mc:Choice>
            <mc:Fallback xmlns="">
              <p:pic>
                <p:nvPicPr>
                  <p:cNvPr id="41" name="Input penna 40">
                    <a:extLst>
                      <a:ext uri="{FF2B5EF4-FFF2-40B4-BE49-F238E27FC236}">
                        <a16:creationId xmlns:a16="http://schemas.microsoft.com/office/drawing/2014/main" id="{E373DC81-DC5E-59F8-F585-2827416CCADB}"/>
                      </a:ext>
                    </a:extLst>
                  </p:cNvPr>
                  <p:cNvPicPr/>
                  <p:nvPr/>
                </p:nvPicPr>
                <p:blipFill>
                  <a:blip r:embed="rId713"/>
                  <a:stretch>
                    <a:fillRect/>
                  </a:stretch>
                </p:blipFill>
                <p:spPr>
                  <a:xfrm>
                    <a:off x="7589057" y="5130120"/>
                    <a:ext cx="19800" cy="208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14">
                <p14:nvContentPartPr>
                  <p14:cNvPr id="42" name="Input penna 41">
                    <a:extLst>
                      <a:ext uri="{FF2B5EF4-FFF2-40B4-BE49-F238E27FC236}">
                        <a16:creationId xmlns:a16="http://schemas.microsoft.com/office/drawing/2014/main" id="{35161D04-E469-13D3-44D6-1F975B77425D}"/>
                      </a:ext>
                    </a:extLst>
                  </p14:cNvPr>
                  <p14:cNvContentPartPr/>
                  <p14:nvPr/>
                </p14:nvContentPartPr>
                <p14:xfrm>
                  <a:off x="7573577" y="5117880"/>
                  <a:ext cx="15120" cy="48240"/>
                </p14:xfrm>
              </p:contentPart>
            </mc:Choice>
            <mc:Fallback xmlns="">
              <p:pic>
                <p:nvPicPr>
                  <p:cNvPr id="42" name="Input penna 41">
                    <a:extLst>
                      <a:ext uri="{FF2B5EF4-FFF2-40B4-BE49-F238E27FC236}">
                        <a16:creationId xmlns:a16="http://schemas.microsoft.com/office/drawing/2014/main" id="{35161D04-E469-13D3-44D6-1F975B77425D}"/>
                      </a:ext>
                    </a:extLst>
                  </p:cNvPr>
                  <p:cNvPicPr/>
                  <p:nvPr/>
                </p:nvPicPr>
                <p:blipFill>
                  <a:blip r:embed="rId715"/>
                  <a:stretch>
                    <a:fillRect/>
                  </a:stretch>
                </p:blipFill>
                <p:spPr>
                  <a:xfrm>
                    <a:off x="7569152" y="5113560"/>
                    <a:ext cx="23971" cy="568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16">
                <p14:nvContentPartPr>
                  <p14:cNvPr id="43" name="Input penna 42">
                    <a:extLst>
                      <a:ext uri="{FF2B5EF4-FFF2-40B4-BE49-F238E27FC236}">
                        <a16:creationId xmlns:a16="http://schemas.microsoft.com/office/drawing/2014/main" id="{909F230F-F982-F429-4059-35952069769B}"/>
                      </a:ext>
                    </a:extLst>
                  </p14:cNvPr>
                  <p14:cNvContentPartPr/>
                  <p14:nvPr/>
                </p14:nvContentPartPr>
                <p14:xfrm>
                  <a:off x="7512737" y="5088360"/>
                  <a:ext cx="83520" cy="91080"/>
                </p14:xfrm>
              </p:contentPart>
            </mc:Choice>
            <mc:Fallback xmlns="">
              <p:pic>
                <p:nvPicPr>
                  <p:cNvPr id="43" name="Input penna 42">
                    <a:extLst>
                      <a:ext uri="{FF2B5EF4-FFF2-40B4-BE49-F238E27FC236}">
                        <a16:creationId xmlns:a16="http://schemas.microsoft.com/office/drawing/2014/main" id="{909F230F-F982-F429-4059-35952069769B}"/>
                      </a:ext>
                    </a:extLst>
                  </p:cNvPr>
                  <p:cNvPicPr/>
                  <p:nvPr/>
                </p:nvPicPr>
                <p:blipFill>
                  <a:blip r:embed="rId717"/>
                  <a:stretch>
                    <a:fillRect/>
                  </a:stretch>
                </p:blipFill>
                <p:spPr>
                  <a:xfrm>
                    <a:off x="7508436" y="5084040"/>
                    <a:ext cx="92123" cy="99720"/>
                  </a:xfrm>
                  <a:prstGeom prst="rect">
                    <a:avLst/>
                  </a:prstGeom>
                </p:spPr>
              </p:pic>
            </mc:Fallback>
          </mc:AlternateContent>
        </p:grpSp>
        <mc:AlternateContent xmlns:mc="http://schemas.openxmlformats.org/markup-compatibility/2006" xmlns:p14="http://schemas.microsoft.com/office/powerpoint/2010/main">
          <mc:Choice Requires="p14">
            <p:contentPart p14:bwMode="auto" r:id="rId718">
              <p14:nvContentPartPr>
                <p14:cNvPr id="8" name="Input penna 7">
                  <a:extLst>
                    <a:ext uri="{FF2B5EF4-FFF2-40B4-BE49-F238E27FC236}">
                      <a16:creationId xmlns:a16="http://schemas.microsoft.com/office/drawing/2014/main" id="{B1712EFB-CAA9-AB11-8635-4B56B1B7AE6F}"/>
                    </a:ext>
                  </a:extLst>
                </p14:cNvPr>
                <p14:cNvContentPartPr/>
                <p14:nvPr/>
              </p14:nvContentPartPr>
              <p14:xfrm>
                <a:off x="6896423" y="5147490"/>
                <a:ext cx="681480" cy="500040"/>
              </p14:xfrm>
            </p:contentPart>
          </mc:Choice>
          <mc:Fallback xmlns="">
            <p:pic>
              <p:nvPicPr>
                <p:cNvPr id="8" name="Input penna 7">
                  <a:extLst>
                    <a:ext uri="{FF2B5EF4-FFF2-40B4-BE49-F238E27FC236}">
                      <a16:creationId xmlns:a16="http://schemas.microsoft.com/office/drawing/2014/main" id="{B1712EFB-CAA9-AB11-8635-4B56B1B7AE6F}"/>
                    </a:ext>
                  </a:extLst>
                </p:cNvPr>
                <p:cNvPicPr/>
                <p:nvPr/>
              </p:nvPicPr>
              <p:blipFill>
                <a:blip r:embed="rId719"/>
                <a:stretch>
                  <a:fillRect/>
                </a:stretch>
              </p:blipFill>
              <p:spPr>
                <a:xfrm>
                  <a:off x="6892103" y="5143170"/>
                  <a:ext cx="690120" cy="508680"/>
                </a:xfrm>
                <a:prstGeom prst="rect">
                  <a:avLst/>
                </a:prstGeom>
              </p:spPr>
            </p:pic>
          </mc:Fallback>
        </mc:AlternateContent>
        <p:grpSp>
          <p:nvGrpSpPr>
            <p:cNvPr id="15" name="Gruppo 14">
              <a:extLst>
                <a:ext uri="{FF2B5EF4-FFF2-40B4-BE49-F238E27FC236}">
                  <a16:creationId xmlns:a16="http://schemas.microsoft.com/office/drawing/2014/main" id="{ADC53983-897B-BDE8-7777-C491334D3078}"/>
                </a:ext>
              </a:extLst>
            </p:cNvPr>
            <p:cNvGrpSpPr/>
            <p:nvPr/>
          </p:nvGrpSpPr>
          <p:grpSpPr>
            <a:xfrm>
              <a:off x="4709558" y="4961524"/>
              <a:ext cx="1711440" cy="550440"/>
              <a:chOff x="4709558" y="4961524"/>
              <a:chExt cx="1711440" cy="550440"/>
            </a:xfrm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720">
                <p14:nvContentPartPr>
                  <p14:cNvPr id="9" name="Input penna 8">
                    <a:extLst>
                      <a:ext uri="{FF2B5EF4-FFF2-40B4-BE49-F238E27FC236}">
                        <a16:creationId xmlns:a16="http://schemas.microsoft.com/office/drawing/2014/main" id="{8E56134C-6F60-D8E1-E8D9-E58E35389C93}"/>
                      </a:ext>
                    </a:extLst>
                  </p14:cNvPr>
                  <p14:cNvContentPartPr/>
                  <p14:nvPr/>
                </p14:nvContentPartPr>
                <p14:xfrm>
                  <a:off x="4709558" y="4961524"/>
                  <a:ext cx="688680" cy="248400"/>
                </p14:xfrm>
              </p:contentPart>
            </mc:Choice>
            <mc:Fallback xmlns="">
              <p:pic>
                <p:nvPicPr>
                  <p:cNvPr id="9" name="Input penna 8">
                    <a:extLst>
                      <a:ext uri="{FF2B5EF4-FFF2-40B4-BE49-F238E27FC236}">
                        <a16:creationId xmlns:a16="http://schemas.microsoft.com/office/drawing/2014/main" id="{8E56134C-6F60-D8E1-E8D9-E58E35389C93}"/>
                      </a:ext>
                    </a:extLst>
                  </p:cNvPr>
                  <p:cNvPicPr/>
                  <p:nvPr/>
                </p:nvPicPr>
                <p:blipFill>
                  <a:blip r:embed="rId721"/>
                  <a:stretch>
                    <a:fillRect/>
                  </a:stretch>
                </p:blipFill>
                <p:spPr>
                  <a:xfrm>
                    <a:off x="4705238" y="4957198"/>
                    <a:ext cx="697320" cy="25705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22">
                <p14:nvContentPartPr>
                  <p14:cNvPr id="11" name="Input penna 10">
                    <a:extLst>
                      <a:ext uri="{FF2B5EF4-FFF2-40B4-BE49-F238E27FC236}">
                        <a16:creationId xmlns:a16="http://schemas.microsoft.com/office/drawing/2014/main" id="{F6852CF8-F8A8-CF20-59AE-A9ACDB25AA3C}"/>
                      </a:ext>
                    </a:extLst>
                  </p14:cNvPr>
                  <p14:cNvContentPartPr/>
                  <p14:nvPr/>
                </p14:nvContentPartPr>
                <p14:xfrm>
                  <a:off x="5383478" y="5167804"/>
                  <a:ext cx="432720" cy="173520"/>
                </p14:xfrm>
              </p:contentPart>
            </mc:Choice>
            <mc:Fallback xmlns="">
              <p:pic>
                <p:nvPicPr>
                  <p:cNvPr id="11" name="Input penna 10">
                    <a:extLst>
                      <a:ext uri="{FF2B5EF4-FFF2-40B4-BE49-F238E27FC236}">
                        <a16:creationId xmlns:a16="http://schemas.microsoft.com/office/drawing/2014/main" id="{F6852CF8-F8A8-CF20-59AE-A9ACDB25AA3C}"/>
                      </a:ext>
                    </a:extLst>
                  </p:cNvPr>
                  <p:cNvPicPr/>
                  <p:nvPr/>
                </p:nvPicPr>
                <p:blipFill>
                  <a:blip r:embed="rId723"/>
                  <a:stretch>
                    <a:fillRect/>
                  </a:stretch>
                </p:blipFill>
                <p:spPr>
                  <a:xfrm>
                    <a:off x="5379158" y="5163484"/>
                    <a:ext cx="441360" cy="1821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24">
                <p14:nvContentPartPr>
                  <p14:cNvPr id="12" name="Input penna 11">
                    <a:extLst>
                      <a:ext uri="{FF2B5EF4-FFF2-40B4-BE49-F238E27FC236}">
                        <a16:creationId xmlns:a16="http://schemas.microsoft.com/office/drawing/2014/main" id="{EF8D8205-BEF7-EE53-9519-6AEFC4841CAF}"/>
                      </a:ext>
                    </a:extLst>
                  </p14:cNvPr>
                  <p14:cNvContentPartPr/>
                  <p14:nvPr/>
                </p14:nvContentPartPr>
                <p14:xfrm>
                  <a:off x="5783798" y="5290924"/>
                  <a:ext cx="637200" cy="221040"/>
                </p14:xfrm>
              </p:contentPart>
            </mc:Choice>
            <mc:Fallback xmlns="">
              <p:pic>
                <p:nvPicPr>
                  <p:cNvPr id="12" name="Input penna 11">
                    <a:extLst>
                      <a:ext uri="{FF2B5EF4-FFF2-40B4-BE49-F238E27FC236}">
                        <a16:creationId xmlns:a16="http://schemas.microsoft.com/office/drawing/2014/main" id="{EF8D8205-BEF7-EE53-9519-6AEFC4841CAF}"/>
                      </a:ext>
                    </a:extLst>
                  </p:cNvPr>
                  <p:cNvPicPr/>
                  <p:nvPr/>
                </p:nvPicPr>
                <p:blipFill>
                  <a:blip r:embed="rId725"/>
                  <a:stretch>
                    <a:fillRect/>
                  </a:stretch>
                </p:blipFill>
                <p:spPr>
                  <a:xfrm>
                    <a:off x="5779476" y="5286604"/>
                    <a:ext cx="645845" cy="229680"/>
                  </a:xfrm>
                  <a:prstGeom prst="rect">
                    <a:avLst/>
                  </a:prstGeom>
                </p:spPr>
              </p:pic>
            </mc:Fallback>
          </mc:AlternateContent>
        </p:grpSp>
        <mc:AlternateContent xmlns:mc="http://schemas.openxmlformats.org/markup-compatibility/2006" xmlns:p14="http://schemas.microsoft.com/office/powerpoint/2010/main">
          <mc:Choice Requires="p14">
            <p:contentPart p14:bwMode="auto" r:id="rId726">
              <p14:nvContentPartPr>
                <p14:cNvPr id="16" name="Input penna 15">
                  <a:extLst>
                    <a:ext uri="{FF2B5EF4-FFF2-40B4-BE49-F238E27FC236}">
                      <a16:creationId xmlns:a16="http://schemas.microsoft.com/office/drawing/2014/main" id="{40520A71-75DF-2D8B-3487-7E3723E86750}"/>
                    </a:ext>
                  </a:extLst>
                </p14:cNvPr>
                <p14:cNvContentPartPr/>
                <p14:nvPr/>
              </p14:nvContentPartPr>
              <p14:xfrm>
                <a:off x="6356918" y="5445004"/>
                <a:ext cx="524520" cy="199080"/>
              </p14:xfrm>
            </p:contentPart>
          </mc:Choice>
          <mc:Fallback xmlns="">
            <p:pic>
              <p:nvPicPr>
                <p:cNvPr id="16" name="Input penna 15">
                  <a:extLst>
                    <a:ext uri="{FF2B5EF4-FFF2-40B4-BE49-F238E27FC236}">
                      <a16:creationId xmlns:a16="http://schemas.microsoft.com/office/drawing/2014/main" id="{40520A71-75DF-2D8B-3487-7E3723E86750}"/>
                    </a:ext>
                  </a:extLst>
                </p:cNvPr>
                <p:cNvPicPr/>
                <p:nvPr/>
              </p:nvPicPr>
              <p:blipFill>
                <a:blip r:embed="rId727"/>
                <a:stretch>
                  <a:fillRect/>
                </a:stretch>
              </p:blipFill>
              <p:spPr>
                <a:xfrm>
                  <a:off x="6352601" y="5440684"/>
                  <a:ext cx="533154" cy="20772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4B7AC7E-4471-0521-5E6E-903C16C4B2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2599" y="873877"/>
            <a:ext cx="11228023" cy="376456"/>
          </a:xfrm>
        </p:spPr>
        <p:txBody>
          <a:bodyPr/>
          <a:lstStyle/>
          <a:p>
            <a:pPr algn="l" rtl="0"/>
            <a:r>
              <a:rPr lang="es-es" b="0" i="0" u="none" baseline="0" dirty="0"/>
              <a:t>Limpieza de acumulaciones de </a:t>
            </a:r>
            <a:r>
              <a:rPr lang="es-es" dirty="0"/>
              <a:t>l</a:t>
            </a:r>
            <a:r>
              <a:rPr lang="es-ES" dirty="0"/>
              <a:t>í</a:t>
            </a:r>
            <a:r>
              <a:rPr lang="es-es" dirty="0"/>
              <a:t>quidos refrigerantes</a:t>
            </a:r>
            <a:r>
              <a:rPr lang="es-es" b="0" i="0" u="none" baseline="0" dirty="0"/>
              <a:t> y virutas en máquinas CNC y talleres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AAF13A54-27BE-DD33-D177-75D4EE24E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s-es" b="1" i="0" u="none" baseline="0"/>
              <a:t>Mapa de aplicaciones habituales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2D833E9-5AD2-460D-79C1-20D0747CFC0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525559A-13D6-6409-7F72-3E14F57818B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0</a:t>
            </a:fld>
            <a:endParaRPr lang="es-es" noProof="0" dirty="0"/>
          </a:p>
        </p:txBody>
      </p:sp>
      <p:pic>
        <p:nvPicPr>
          <p:cNvPr id="7" name="Immagine 6" descr="Immagine che contiene terreno, calzature, persona, vestiti&#10;&#10;Il contenuto generato dall'IA potrebbe non essere corretto.">
            <a:extLst>
              <a:ext uri="{FF2B5EF4-FFF2-40B4-BE49-F238E27FC236}">
                <a16:creationId xmlns:a16="http://schemas.microsoft.com/office/drawing/2014/main" id="{D72FE1F5-7AC9-D2FD-3CC1-74D16422432B}"/>
              </a:ext>
            </a:extLst>
          </p:cNvPr>
          <p:cNvPicPr>
            <a:picLocks noChangeAspect="1"/>
          </p:cNvPicPr>
          <p:nvPr/>
        </p:nvPicPr>
        <p:blipFill>
          <a:blip r:embed="rId7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880600" y="1952854"/>
            <a:ext cx="1828800" cy="1828800"/>
          </a:xfrm>
          <a:prstGeom prst="ellipse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2D9CC191-87F5-5747-FF5B-821B959B9F97}"/>
              </a:ext>
            </a:extLst>
          </p:cNvPr>
          <p:cNvPicPr>
            <a:picLocks noChangeAspect="1"/>
          </p:cNvPicPr>
          <p:nvPr/>
        </p:nvPicPr>
        <p:blipFill>
          <a:blip r:embed="rId7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2600" y="1409700"/>
            <a:ext cx="1827720" cy="1828800"/>
          </a:xfrm>
          <a:prstGeom prst="ellipse">
            <a:avLst/>
          </a:prstGeom>
        </p:spPr>
      </p:pic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295C9FC9-2A50-C97C-467D-EDD550223101}"/>
              </a:ext>
            </a:extLst>
          </p:cNvPr>
          <p:cNvSpPr txBox="1">
            <a:spLocks/>
          </p:cNvSpPr>
          <p:nvPr/>
        </p:nvSpPr>
        <p:spPr>
          <a:xfrm>
            <a:off x="2670062" y="1289989"/>
            <a:ext cx="2359992" cy="1807161"/>
          </a:xfrm>
          <a:prstGeom prst="rect">
            <a:avLst/>
          </a:prstGeom>
          <a:noFill/>
        </p:spPr>
        <p:txBody>
          <a:bodyPr wrap="square" lIns="0" tIns="0" rIns="0" bIns="182880" rtlCol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s-es" sz="1400" b="0" i="0" u="none" baseline="0" dirty="0">
                <a:solidFill>
                  <a:schemeClr val="accent3"/>
                </a:solidFill>
                <a:ea typeface="Roboto Medium" panose="02000000000000000000" pitchFamily="2" charset="0"/>
              </a:rPr>
              <a:t>La máquina y sus </a:t>
            </a:r>
            <a:r>
              <a:rPr lang="es-es" sz="1400" b="0" i="0" u="none" baseline="0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iezas</a:t>
            </a:r>
          </a:p>
          <a:p>
            <a:pPr algn="l" rtl="0">
              <a:lnSpc>
                <a:spcPct val="120000"/>
              </a:lnSpc>
            </a:pPr>
            <a:r>
              <a:rPr lang="es-es" sz="1200" b="0" i="0" u="none" baseline="0" dirty="0"/>
              <a:t>Incluso con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transportadores </a:t>
            </a:r>
            <a:r>
              <a:rPr lang="es-es" sz="1200" b="0" i="0" u="none" baseline="0" dirty="0"/>
              <a:t>de virutas internos, las máquinas CNC necesitan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una</a:t>
            </a:r>
            <a:r>
              <a:rPr lang="es-es" sz="1200" b="0" i="0" u="none" baseline="0" dirty="0"/>
              <a:t>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impieza</a:t>
            </a:r>
            <a:r>
              <a:rPr lang="es-es" sz="1200" b="0" i="0" u="none" baseline="0" dirty="0"/>
              <a:t> minuciosa. El uso de un aspirador en lugar de aire comprimido garantiza un proceso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ás</a:t>
            </a:r>
            <a:r>
              <a:rPr lang="es-es" sz="1200" b="0" i="0" u="none" baseline="0" dirty="0"/>
              <a:t>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guro</a:t>
            </a:r>
            <a:r>
              <a:rPr lang="es-es" sz="1200" b="0" i="0" u="none" baseline="0" dirty="0"/>
              <a:t> y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ficaz</a:t>
            </a:r>
            <a:r>
              <a:rPr lang="es-es" sz="1200" b="0" i="0" u="none" baseline="0" dirty="0"/>
              <a:t>.</a:t>
            </a: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741EBF2B-AA0C-2B81-F7C7-18782DAC0D8A}"/>
              </a:ext>
            </a:extLst>
          </p:cNvPr>
          <p:cNvSpPr txBox="1">
            <a:spLocks/>
          </p:cNvSpPr>
          <p:nvPr/>
        </p:nvSpPr>
        <p:spPr>
          <a:xfrm>
            <a:off x="2553191" y="3924243"/>
            <a:ext cx="1943100" cy="1807161"/>
          </a:xfrm>
          <a:prstGeom prst="rect">
            <a:avLst/>
          </a:prstGeom>
          <a:noFill/>
        </p:spPr>
        <p:txBody>
          <a:bodyPr wrap="square" lIns="0" tIns="0" rIns="0" bIns="182880" rtlCol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s-es" sz="1400" b="0" i="0" u="none" baseline="0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umidero</a:t>
            </a:r>
            <a:r>
              <a:rPr lang="es-es" sz="1400" b="0" i="0" u="none" baseline="0" dirty="0">
                <a:solidFill>
                  <a:schemeClr val="accent3"/>
                </a:solidFill>
              </a:rPr>
              <a:t> de la máquina</a:t>
            </a:r>
            <a:endParaRPr lang="es-es" sz="1400" noProof="0" dirty="0">
              <a:solidFill>
                <a:schemeClr val="accent3"/>
              </a:solidFill>
            </a:endParaRPr>
          </a:p>
          <a:p>
            <a:pPr algn="l" rtl="0">
              <a:lnSpc>
                <a:spcPct val="120000"/>
              </a:lnSpc>
            </a:pPr>
            <a:r>
              <a:rPr lang="es-es" sz="1200" b="0" i="0" u="none" baseline="0" dirty="0"/>
              <a:t>El sumidero almacena el fluido de corte, pero la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 suciedad</a:t>
            </a:r>
            <a:r>
              <a:rPr lang="es-es" sz="1200" b="0" i="0" u="none" baseline="0" dirty="0"/>
              <a:t>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y el lodo</a:t>
            </a:r>
            <a:r>
              <a:rPr lang="es-es" sz="1200" b="0" i="0" u="none" baseline="0" dirty="0"/>
              <a:t> se acumulan rápidamente. Los fluidos deben retirarse, limpiarse y sustituirse para mantener la eficiencia del sistema.</a:t>
            </a: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0B4FAF61-263A-AD16-83C1-75D76B488611}"/>
              </a:ext>
            </a:extLst>
          </p:cNvPr>
          <p:cNvSpPr txBox="1">
            <a:spLocks/>
          </p:cNvSpPr>
          <p:nvPr/>
        </p:nvSpPr>
        <p:spPr>
          <a:xfrm>
            <a:off x="7942257" y="2057373"/>
            <a:ext cx="1716571" cy="1363963"/>
          </a:xfrm>
          <a:prstGeom prst="rect">
            <a:avLst/>
          </a:prstGeom>
          <a:noFill/>
        </p:spPr>
        <p:txBody>
          <a:bodyPr wrap="square" lIns="0" tIns="0" rIns="0" bIns="182880" rtlCol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s-es" sz="1400" b="0" i="0" u="none" baseline="0" dirty="0">
                <a:solidFill>
                  <a:schemeClr val="accent3"/>
                </a:solidFill>
              </a:rPr>
              <a:t>Planta del </a:t>
            </a:r>
            <a:r>
              <a:rPr lang="es-es" sz="1400" b="0" i="0" u="none" baseline="0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taller</a:t>
            </a:r>
            <a:endParaRPr lang="es-es" sz="1400" noProof="0" dirty="0">
              <a:solidFill>
                <a:schemeClr val="accent3"/>
              </a:solidFill>
            </a:endParaRPr>
          </a:p>
          <a:p>
            <a:pPr algn="l" rtl="0">
              <a:lnSpc>
                <a:spcPct val="120000"/>
              </a:lnSpc>
              <a:spcAft>
                <a:spcPts val="200"/>
              </a:spcAft>
            </a:pPr>
            <a:r>
              <a:rPr lang="es-es" sz="1200" b="0" i="0" u="none" baseline="0" dirty="0"/>
              <a:t>Mantener limpio el suelo alrededor de la estación de trabajo es esencial para un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ntorno</a:t>
            </a:r>
            <a:r>
              <a:rPr lang="es-es" sz="1200" b="0" i="0" u="none" baseline="0" dirty="0"/>
              <a:t>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guro</a:t>
            </a:r>
            <a:r>
              <a:rPr lang="es-es" sz="1200" b="0" i="0" u="none" baseline="0" dirty="0"/>
              <a:t> y 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ordenado</a:t>
            </a:r>
            <a:r>
              <a:rPr lang="es-es" sz="1200" b="0" i="0" u="none" baseline="0" dirty="0"/>
              <a:t>.</a:t>
            </a:r>
          </a:p>
        </p:txBody>
      </p:sp>
      <p:pic>
        <p:nvPicPr>
          <p:cNvPr id="923" name="Immagine 922" descr="Immagine che contiene vestiti, calzature, terreno, persona&#10;&#10;Il contenuto generato dall'IA potrebbe non essere corretto.">
            <a:extLst>
              <a:ext uri="{FF2B5EF4-FFF2-40B4-BE49-F238E27FC236}">
                <a16:creationId xmlns:a16="http://schemas.microsoft.com/office/drawing/2014/main" id="{F75BB50E-CDE2-2FB2-3EDE-0858EEC90F76}"/>
              </a:ext>
            </a:extLst>
          </p:cNvPr>
          <p:cNvPicPr>
            <a:picLocks noChangeAspect="1"/>
          </p:cNvPicPr>
          <p:nvPr/>
        </p:nvPicPr>
        <p:blipFill>
          <a:blip r:embed="rId7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883775" y="4278702"/>
            <a:ext cx="1828800" cy="1828800"/>
          </a:xfrm>
          <a:prstGeom prst="ellipse">
            <a:avLst/>
          </a:prstGeom>
        </p:spPr>
      </p:pic>
      <p:sp>
        <p:nvSpPr>
          <p:cNvPr id="925" name="CasellaDiTesto 924">
            <a:extLst>
              <a:ext uri="{FF2B5EF4-FFF2-40B4-BE49-F238E27FC236}">
                <a16:creationId xmlns:a16="http://schemas.microsoft.com/office/drawing/2014/main" id="{C9D971C1-CEE7-D85D-0A9A-2B29EE0A1B23}"/>
              </a:ext>
            </a:extLst>
          </p:cNvPr>
          <p:cNvSpPr txBox="1">
            <a:spLocks/>
          </p:cNvSpPr>
          <p:nvPr/>
        </p:nvSpPr>
        <p:spPr>
          <a:xfrm>
            <a:off x="7918996" y="3548540"/>
            <a:ext cx="1763091" cy="2545825"/>
          </a:xfrm>
          <a:prstGeom prst="rect">
            <a:avLst/>
          </a:prstGeom>
          <a:noFill/>
        </p:spPr>
        <p:txBody>
          <a:bodyPr wrap="square" lIns="0" tIns="0" rIns="0" bIns="182880" rtlCol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s-es" sz="1400" b="0" i="0" u="none" baseline="0" dirty="0">
                <a:solidFill>
                  <a:schemeClr val="accent3"/>
                </a:solidFill>
              </a:rPr>
              <a:t>Bandeja de </a:t>
            </a:r>
            <a:r>
              <a:rPr lang="es-es" sz="1400" b="0" i="0" u="none" baseline="0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ontención</a:t>
            </a:r>
            <a:r>
              <a:rPr lang="es-es" sz="1400" b="0" i="0" u="none" baseline="0" dirty="0">
                <a:solidFill>
                  <a:schemeClr val="accent3"/>
                </a:solidFill>
              </a:rPr>
              <a:t> de derrames</a:t>
            </a:r>
            <a:endParaRPr lang="es-es" sz="1400" noProof="0" dirty="0">
              <a:solidFill>
                <a:schemeClr val="accent3"/>
              </a:solidFill>
            </a:endParaRPr>
          </a:p>
          <a:p>
            <a:pPr algn="l" rtl="0">
              <a:lnSpc>
                <a:spcPct val="120000"/>
              </a:lnSpc>
              <a:spcAft>
                <a:spcPts val="200"/>
              </a:spcAft>
            </a:pPr>
            <a:r>
              <a:rPr lang="es-es" sz="1200" b="0" i="0" u="none" baseline="0" dirty="0"/>
              <a:t>Las máquinas CNC suelen tener bandejas para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coger las fugas</a:t>
            </a:r>
            <a:r>
              <a:rPr lang="es-es" sz="1200" b="0" i="0" u="none" baseline="0" dirty="0"/>
              <a:t>. La acumulación de l</a:t>
            </a:r>
            <a:r>
              <a:rPr lang="es-ES" sz="1200" b="0" i="0" u="none" baseline="0" dirty="0"/>
              <a:t>í</a:t>
            </a:r>
            <a:r>
              <a:rPr lang="es-es" sz="1200" b="0" i="0" u="none" baseline="0" dirty="0"/>
              <a:t>quidos </a:t>
            </a:r>
            <a:r>
              <a:rPr lang="es-es" sz="1200" dirty="0"/>
              <a:t> de corte</a:t>
            </a:r>
            <a:r>
              <a:rPr lang="es-es" sz="1200" b="0" i="0" u="none" baseline="0" dirty="0"/>
              <a:t> y lodo puede ser difícil de eliminar sin un aspirador potente.</a:t>
            </a:r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190FBCD9-3176-D408-F1A1-2130398475E6}"/>
              </a:ext>
            </a:extLst>
          </p:cNvPr>
          <p:cNvCxnSpPr>
            <a:cxnSpLocks/>
          </p:cNvCxnSpPr>
          <p:nvPr/>
        </p:nvCxnSpPr>
        <p:spPr>
          <a:xfrm flipV="1">
            <a:off x="7718899" y="3505943"/>
            <a:ext cx="2163289" cy="1265476"/>
          </a:xfrm>
          <a:prstGeom prst="bentConnector3">
            <a:avLst>
              <a:gd name="adj1" fmla="val -310"/>
            </a:avLst>
          </a:prstGeom>
          <a:ln w="15875" cap="sq">
            <a:solidFill>
              <a:schemeClr val="bg2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6" name="Connector: Elbow 945">
            <a:extLst>
              <a:ext uri="{FF2B5EF4-FFF2-40B4-BE49-F238E27FC236}">
                <a16:creationId xmlns:a16="http://schemas.microsoft.com/office/drawing/2014/main" id="{630B1364-EF96-70F1-8CCE-DC2DC8148893}"/>
              </a:ext>
            </a:extLst>
          </p:cNvPr>
          <p:cNvCxnSpPr>
            <a:cxnSpLocks/>
          </p:cNvCxnSpPr>
          <p:nvPr/>
        </p:nvCxnSpPr>
        <p:spPr>
          <a:xfrm>
            <a:off x="7380025" y="5148470"/>
            <a:ext cx="2500575" cy="772828"/>
          </a:xfrm>
          <a:prstGeom prst="bentConnector3">
            <a:avLst>
              <a:gd name="adj1" fmla="val 143"/>
            </a:avLst>
          </a:prstGeom>
          <a:ln w="15875" cap="sq">
            <a:solidFill>
              <a:schemeClr val="bg2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92B601DE-EAF5-BEAE-8AFC-547E277ABCC4}"/>
              </a:ext>
            </a:extLst>
          </p:cNvPr>
          <p:cNvCxnSpPr>
            <a:cxnSpLocks/>
          </p:cNvCxnSpPr>
          <p:nvPr/>
        </p:nvCxnSpPr>
        <p:spPr>
          <a:xfrm rot="10800000">
            <a:off x="2311400" y="2948104"/>
            <a:ext cx="2641844" cy="562291"/>
          </a:xfrm>
          <a:prstGeom prst="bentConnector3">
            <a:avLst>
              <a:gd name="adj1" fmla="val -58"/>
            </a:avLst>
          </a:prstGeom>
          <a:ln w="15875" cap="sq">
            <a:solidFill>
              <a:schemeClr val="bg2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6" name="Connector: Elbow 545">
            <a:extLst>
              <a:ext uri="{FF2B5EF4-FFF2-40B4-BE49-F238E27FC236}">
                <a16:creationId xmlns:a16="http://schemas.microsoft.com/office/drawing/2014/main" id="{43902E99-3E68-D9C3-582C-448916CC2A59}"/>
              </a:ext>
            </a:extLst>
          </p:cNvPr>
          <p:cNvCxnSpPr>
            <a:cxnSpLocks/>
          </p:cNvCxnSpPr>
          <p:nvPr/>
        </p:nvCxnSpPr>
        <p:spPr>
          <a:xfrm rot="10800000" flipV="1">
            <a:off x="2311401" y="4500769"/>
            <a:ext cx="2344475" cy="1490455"/>
          </a:xfrm>
          <a:prstGeom prst="bentConnector3">
            <a:avLst>
              <a:gd name="adj1" fmla="val -120"/>
            </a:avLst>
          </a:prstGeom>
          <a:ln w="15875" cap="sq">
            <a:solidFill>
              <a:schemeClr val="bg2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158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3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Características y ventajas principales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1</a:t>
            </a:fld>
            <a:endParaRPr lang="es-es" noProof="0" dirty="0"/>
          </a:p>
        </p:txBody>
      </p:sp>
    </p:spTree>
    <p:extLst>
      <p:ext uri="{BB962C8B-B14F-4D97-AF65-F5344CB8AC3E}">
        <p14:creationId xmlns:p14="http://schemas.microsoft.com/office/powerpoint/2010/main" val="385584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F06DFE-BAF7-90BA-C090-E7D59A1282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8">
            <a:extLst>
              <a:ext uri="{FF2B5EF4-FFF2-40B4-BE49-F238E27FC236}">
                <a16:creationId xmlns:a16="http://schemas.microsoft.com/office/drawing/2014/main" id="{3066CA23-AFCB-1ADA-F85D-3E682B55C525}"/>
              </a:ext>
            </a:extLst>
          </p:cNvPr>
          <p:cNvSpPr txBox="1">
            <a:spLocks/>
          </p:cNvSpPr>
          <p:nvPr/>
        </p:nvSpPr>
        <p:spPr>
          <a:xfrm>
            <a:off x="5446004" y="5469664"/>
            <a:ext cx="1765249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s-es" b="0" i="0" u="none" baseline="0"/>
              <a:t>Abrazadera de la pistola</a:t>
            </a:r>
            <a:endParaRPr lang="es-es" noProof="0" dirty="0"/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132BF56D-65AE-83E7-0C8B-B75E791EA470}"/>
              </a:ext>
            </a:extLst>
          </p:cNvPr>
          <p:cNvSpPr txBox="1">
            <a:spLocks/>
          </p:cNvSpPr>
          <p:nvPr/>
        </p:nvSpPr>
        <p:spPr>
          <a:xfrm>
            <a:off x="5073485" y="5374206"/>
            <a:ext cx="218088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s-es" sz="3600" b="0" i="0" u="none" baseline="0">
                <a:solidFill>
                  <a:schemeClr val="accent3"/>
                </a:solidFill>
              </a:rPr>
              <a:t>3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20EA920-59E4-2A18-CA9B-835F10E0241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52516" y="3799383"/>
            <a:ext cx="2156167" cy="1466102"/>
          </a:xfrm>
          <a:prstGeom prst="rect">
            <a:avLst/>
          </a:prstGeom>
          <a:solidFill>
            <a:srgbClr val="F0F1F3"/>
          </a:solidFill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F7A5FD1-F4AE-1CC4-553E-1A4004DD6D1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0ADAFE-6877-8D71-0100-48A67725E4B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2</a:t>
            </a:fld>
            <a:endParaRPr lang="es-e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21AFDA6-542A-D89B-52AA-C714EB5671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0" y="873877"/>
            <a:ext cx="7461979" cy="376456"/>
          </a:xfrm>
        </p:spPr>
        <p:txBody>
          <a:bodyPr/>
          <a:lstStyle/>
          <a:p>
            <a:pPr algn="l" rtl="0"/>
            <a:r>
              <a:rPr lang="es-es" b="0" i="0" u="none" baseline="0"/>
              <a:t>Diseñado para ofrecer rendimiento y facilidad de uso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CF65D23-599D-CB41-C72B-21890BBE0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458075" cy="388013"/>
          </a:xfrm>
        </p:spPr>
        <p:txBody>
          <a:bodyPr/>
          <a:lstStyle/>
          <a:p>
            <a:pPr algn="l" rtl="0"/>
            <a:r>
              <a:rPr lang="es-es" b="1" i="0" u="none" baseline="0"/>
              <a:t>Por qué destaca OIL230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48140E3-32D7-9B5C-DB49-7B43AB9086A4}"/>
              </a:ext>
            </a:extLst>
          </p:cNvPr>
          <p:cNvSpPr txBox="1">
            <a:spLocks/>
          </p:cNvSpPr>
          <p:nvPr/>
        </p:nvSpPr>
        <p:spPr>
          <a:xfrm>
            <a:off x="482214" y="1412875"/>
            <a:ext cx="7455286" cy="2047484"/>
          </a:xfrm>
          <a:prstGeom prst="rect">
            <a:avLst/>
          </a:prstGeom>
          <a:noFill/>
        </p:spPr>
        <p:txBody>
          <a:bodyPr vert="horz" wrap="square" lIns="0" tIns="0" rIns="0" bIns="27432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s-es" b="0" i="0" u="none" baseline="0">
                <a:latin typeface="+mj-lt"/>
                <a:ea typeface="SimSun" pitchFamily="2" charset="-122"/>
              </a:rPr>
              <a:t>Características principales:	</a:t>
            </a:r>
          </a:p>
          <a:p>
            <a:pPr marL="274320" indent="-27432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s-es" b="0" i="0" u="none" baseline="0"/>
              <a:t>Interfaz clara y sin necesidad de formación: un interruptor para todos los modos</a:t>
            </a:r>
            <a:endParaRPr lang="es-es" noProof="0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274320" indent="-27432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s-es" b="0" i="0" u="none" baseline="0"/>
              <a:t>Diseño a prueba de goteo: sin fugas, sin desorden</a:t>
            </a:r>
            <a:endParaRPr lang="es-es" noProof="0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274320" indent="-27432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s-es" b="0" i="0" u="none" baseline="0"/>
              <a:t>Pistola de descarga sujeta con abrazaderas: puede utilizarla una sola persona</a:t>
            </a:r>
          </a:p>
          <a:p>
            <a:pPr marL="274320" indent="-27432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s-es" b="0" i="0" u="none" baseline="0"/>
              <a:t>Soportes de manguera y ganchos de elevación integrados: fácil de trasladar y almacenar</a:t>
            </a:r>
          </a:p>
          <a:p>
            <a:pPr marL="274320" indent="-27432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s-es" b="0" i="0" u="none" baseline="0"/>
              <a:t>Cesta para virutas ergonómica a la altura de la cinta: manejo más seguro</a:t>
            </a:r>
            <a:endParaRPr lang="es-es" noProof="0" dirty="0">
              <a:solidFill>
                <a:schemeClr val="accent3"/>
              </a:solidFill>
              <a:latin typeface="Roboto Bold" panose="02000000000000000000" pitchFamily="2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3FD1D76-F449-62A8-5577-150C6DB85F67}"/>
              </a:ext>
            </a:extLst>
          </p:cNvPr>
          <p:cNvCxnSpPr>
            <a:cxnSpLocks/>
          </p:cNvCxnSpPr>
          <p:nvPr/>
        </p:nvCxnSpPr>
        <p:spPr>
          <a:xfrm flipH="1">
            <a:off x="475521" y="3474847"/>
            <a:ext cx="11237054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6C9F7AD8-C5CC-EEA7-96FD-A2F32B8CD1A1}"/>
              </a:ext>
            </a:extLst>
          </p:cNvPr>
          <p:cNvGrpSpPr/>
          <p:nvPr/>
        </p:nvGrpSpPr>
        <p:grpSpPr>
          <a:xfrm>
            <a:off x="7352890" y="3799383"/>
            <a:ext cx="2158736" cy="2128821"/>
            <a:chOff x="7315513" y="3799383"/>
            <a:chExt cx="2158736" cy="2128821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73F4C589-3C0C-D923-30C0-023FE27E3D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7315513" y="3799383"/>
              <a:ext cx="2158736" cy="1466102"/>
            </a:xfrm>
            <a:prstGeom prst="rect">
              <a:avLst/>
            </a:prstGeom>
            <a:solidFill>
              <a:srgbClr val="F0F1F3"/>
            </a:solidFill>
          </p:spPr>
        </p:pic>
        <p:sp>
          <p:nvSpPr>
            <p:cNvPr id="40" name="Text Placeholder 8">
              <a:extLst>
                <a:ext uri="{FF2B5EF4-FFF2-40B4-BE49-F238E27FC236}">
                  <a16:creationId xmlns:a16="http://schemas.microsoft.com/office/drawing/2014/main" id="{550C9D7D-4193-1AB6-3224-E1195DBAAE6C}"/>
                </a:ext>
              </a:extLst>
            </p:cNvPr>
            <p:cNvSpPr txBox="1">
              <a:spLocks/>
            </p:cNvSpPr>
            <p:nvPr/>
          </p:nvSpPr>
          <p:spPr>
            <a:xfrm>
              <a:off x="7685637" y="5469664"/>
              <a:ext cx="1764147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 anchorCtr="0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es-es" b="0" i="0" u="none" baseline="0"/>
                <a:t>Soportes de la manguera</a:t>
              </a:r>
            </a:p>
          </p:txBody>
        </p:sp>
        <p:sp>
          <p:nvSpPr>
            <p:cNvPr id="41" name="Text Placeholder 8">
              <a:extLst>
                <a:ext uri="{FF2B5EF4-FFF2-40B4-BE49-F238E27FC236}">
                  <a16:creationId xmlns:a16="http://schemas.microsoft.com/office/drawing/2014/main" id="{9BBEC3B3-6D9F-715A-8338-AD81E86D2CEC}"/>
                </a:ext>
              </a:extLst>
            </p:cNvPr>
            <p:cNvSpPr txBox="1">
              <a:spLocks/>
            </p:cNvSpPr>
            <p:nvPr/>
          </p:nvSpPr>
          <p:spPr>
            <a:xfrm>
              <a:off x="7322574" y="5374206"/>
              <a:ext cx="191409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es-es" sz="3600" b="0" i="0" u="none" baseline="0">
                  <a:solidFill>
                    <a:schemeClr val="accent3"/>
                  </a:solidFill>
                </a:rPr>
                <a:t>4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69193E4-BD96-4B1F-5ED3-E64874FC046F}"/>
              </a:ext>
            </a:extLst>
          </p:cNvPr>
          <p:cNvGrpSpPr/>
          <p:nvPr/>
        </p:nvGrpSpPr>
        <p:grpSpPr>
          <a:xfrm>
            <a:off x="2778053" y="3799383"/>
            <a:ext cx="2132826" cy="2128821"/>
            <a:chOff x="2772031" y="3799383"/>
            <a:chExt cx="2132826" cy="2128821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6E06C61-B821-8D30-455A-7E60AD86ED5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772031" y="3799383"/>
              <a:ext cx="2087654" cy="1466102"/>
            </a:xfrm>
            <a:prstGeom prst="rect">
              <a:avLst/>
            </a:prstGeom>
            <a:solidFill>
              <a:srgbClr val="F0F1F3"/>
            </a:solidFill>
          </p:spPr>
        </p:pic>
        <p:sp>
          <p:nvSpPr>
            <p:cNvPr id="44" name="Text Placeholder 8">
              <a:extLst>
                <a:ext uri="{FF2B5EF4-FFF2-40B4-BE49-F238E27FC236}">
                  <a16:creationId xmlns:a16="http://schemas.microsoft.com/office/drawing/2014/main" id="{14A121CF-3FD0-D09C-BCDA-29F458415D32}"/>
                </a:ext>
              </a:extLst>
            </p:cNvPr>
            <p:cNvSpPr txBox="1">
              <a:spLocks/>
            </p:cNvSpPr>
            <p:nvPr/>
          </p:nvSpPr>
          <p:spPr>
            <a:xfrm>
              <a:off x="3120512" y="5469664"/>
              <a:ext cx="1784345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 anchorCtr="0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es-es" b="0" i="0" u="none" baseline="0"/>
                <a:t>A prueba de goteo</a:t>
              </a:r>
            </a:p>
          </p:txBody>
        </p:sp>
        <p:sp>
          <p:nvSpPr>
            <p:cNvPr id="45" name="Text Placeholder 8">
              <a:extLst>
                <a:ext uri="{FF2B5EF4-FFF2-40B4-BE49-F238E27FC236}">
                  <a16:creationId xmlns:a16="http://schemas.microsoft.com/office/drawing/2014/main" id="{DFE9F6EC-9817-6F26-28D8-39D977C04EED}"/>
                </a:ext>
              </a:extLst>
            </p:cNvPr>
            <p:cNvSpPr txBox="1">
              <a:spLocks/>
            </p:cNvSpPr>
            <p:nvPr/>
          </p:nvSpPr>
          <p:spPr>
            <a:xfrm>
              <a:off x="2780071" y="5374206"/>
              <a:ext cx="188984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es-es" sz="3600" b="0" i="0" u="none" baseline="0">
                  <a:solidFill>
                    <a:schemeClr val="accent3"/>
                  </a:solidFill>
                </a:rPr>
                <a:t>2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539D478-AFB0-D965-0921-DC67A84F4512}"/>
              </a:ext>
            </a:extLst>
          </p:cNvPr>
          <p:cNvGrpSpPr/>
          <p:nvPr/>
        </p:nvGrpSpPr>
        <p:grpSpPr>
          <a:xfrm>
            <a:off x="9653263" y="3799383"/>
            <a:ext cx="2059312" cy="2128821"/>
            <a:chOff x="9653263" y="3799383"/>
            <a:chExt cx="2059312" cy="2128821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F8A315AB-3BD7-7815-4090-9736468B115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9653263" y="3799383"/>
              <a:ext cx="2059312" cy="1466102"/>
            </a:xfrm>
            <a:prstGeom prst="rect">
              <a:avLst/>
            </a:prstGeom>
          </p:spPr>
        </p:pic>
        <p:sp>
          <p:nvSpPr>
            <p:cNvPr id="48" name="Text Placeholder 8">
              <a:extLst>
                <a:ext uri="{FF2B5EF4-FFF2-40B4-BE49-F238E27FC236}">
                  <a16:creationId xmlns:a16="http://schemas.microsoft.com/office/drawing/2014/main" id="{3288F3FC-2B87-A3E1-9657-9D46D1BAF18A}"/>
                </a:ext>
              </a:extLst>
            </p:cNvPr>
            <p:cNvSpPr txBox="1">
              <a:spLocks/>
            </p:cNvSpPr>
            <p:nvPr/>
          </p:nvSpPr>
          <p:spPr>
            <a:xfrm>
              <a:off x="9985967" y="5469664"/>
              <a:ext cx="1726607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 anchorCtr="0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es-es" b="0" i="0" u="none" baseline="0"/>
                <a:t>Contenedor para virutas</a:t>
              </a:r>
              <a:endParaRPr lang="es-es" noProof="0" dirty="0"/>
            </a:p>
          </p:txBody>
        </p:sp>
        <p:sp>
          <p:nvSpPr>
            <p:cNvPr id="49" name="Text Placeholder 8">
              <a:extLst>
                <a:ext uri="{FF2B5EF4-FFF2-40B4-BE49-F238E27FC236}">
                  <a16:creationId xmlns:a16="http://schemas.microsoft.com/office/drawing/2014/main" id="{8609A8D9-4E6A-7745-732A-1AA1547EBAD2}"/>
                </a:ext>
              </a:extLst>
            </p:cNvPr>
            <p:cNvSpPr txBox="1">
              <a:spLocks/>
            </p:cNvSpPr>
            <p:nvPr/>
          </p:nvSpPr>
          <p:spPr>
            <a:xfrm>
              <a:off x="9667568" y="5374206"/>
              <a:ext cx="251205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es-es" sz="3600" b="0" i="0" u="none" baseline="0">
                  <a:solidFill>
                    <a:schemeClr val="accent3"/>
                  </a:solidFill>
                </a:rPr>
                <a:t>5</a:t>
              </a:r>
              <a:endParaRPr lang="es-es" sz="3600" noProof="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435E10F-89C6-D9C7-9BF5-EB85F426CA9E}"/>
              </a:ext>
            </a:extLst>
          </p:cNvPr>
          <p:cNvGrpSpPr/>
          <p:nvPr/>
        </p:nvGrpSpPr>
        <p:grpSpPr>
          <a:xfrm>
            <a:off x="482215" y="3799383"/>
            <a:ext cx="2154201" cy="2128821"/>
            <a:chOff x="482215" y="3799383"/>
            <a:chExt cx="2154201" cy="2128821"/>
          </a:xfrm>
        </p:grpSpPr>
        <p:sp>
          <p:nvSpPr>
            <p:cNvPr id="42" name="Text Placeholder 8">
              <a:extLst>
                <a:ext uri="{FF2B5EF4-FFF2-40B4-BE49-F238E27FC236}">
                  <a16:creationId xmlns:a16="http://schemas.microsoft.com/office/drawing/2014/main" id="{B2A754BF-8B1D-C7D9-3810-DE48413BB7EF}"/>
                </a:ext>
              </a:extLst>
            </p:cNvPr>
            <p:cNvSpPr txBox="1">
              <a:spLocks/>
            </p:cNvSpPr>
            <p:nvPr/>
          </p:nvSpPr>
          <p:spPr>
            <a:xfrm>
              <a:off x="791810" y="5469664"/>
              <a:ext cx="1844606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es-es" b="0" i="0" u="none" baseline="0"/>
                <a:t>Interfaz de usuario</a:t>
              </a:r>
            </a:p>
          </p:txBody>
        </p:sp>
        <p:sp>
          <p:nvSpPr>
            <p:cNvPr id="43" name="Text Placeholder 8">
              <a:extLst>
                <a:ext uri="{FF2B5EF4-FFF2-40B4-BE49-F238E27FC236}">
                  <a16:creationId xmlns:a16="http://schemas.microsoft.com/office/drawing/2014/main" id="{4EA244ED-65AD-E008-A758-F4CBEBD48923}"/>
                </a:ext>
              </a:extLst>
            </p:cNvPr>
            <p:cNvSpPr txBox="1">
              <a:spLocks/>
            </p:cNvSpPr>
            <p:nvPr/>
          </p:nvSpPr>
          <p:spPr>
            <a:xfrm>
              <a:off x="482600" y="5374206"/>
              <a:ext cx="219760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es-es" sz="3600" b="0" i="0" u="none" baseline="0">
                  <a:solidFill>
                    <a:schemeClr val="accent3"/>
                  </a:solidFill>
                </a:rPr>
                <a:t>1</a:t>
              </a:r>
            </a:p>
          </p:txBody>
        </p:sp>
        <p:pic>
          <p:nvPicPr>
            <p:cNvPr id="7" name="image_0">
              <a:extLst>
                <a:ext uri="{FF2B5EF4-FFF2-40B4-BE49-F238E27FC236}">
                  <a16:creationId xmlns:a16="http://schemas.microsoft.com/office/drawing/2014/main" id="{CAB51055-A694-7BBC-B02C-F665765119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215" y="3799383"/>
              <a:ext cx="2152930" cy="1466102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</p:pic>
      </p:grpSp>
      <p:pic>
        <p:nvPicPr>
          <p:cNvPr id="5" name="Immagine 4">
            <a:extLst>
              <a:ext uri="{FF2B5EF4-FFF2-40B4-BE49-F238E27FC236}">
                <a16:creationId xmlns:a16="http://schemas.microsoft.com/office/drawing/2014/main" id="{0C7F1475-B977-7B3C-7A48-DECEC6D74FB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59985" y="773994"/>
            <a:ext cx="1718175" cy="2564038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84133FE2-CD1B-34A2-52A8-E2F738DF856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4266" y="944417"/>
            <a:ext cx="1790350" cy="2387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99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9A3986-2128-8194-7416-EF27A244D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33646DB6-5E17-6245-A9C4-6FF4BC7C3D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es-es" b="0" i="0" u="none" baseline="0"/>
              <a:t>Rendimiento sin concesiones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20774658-2E84-9A62-9364-3E6DD3832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s-es" b="1" i="0" u="none" baseline="0"/>
              <a:t>OIL230</a:t>
            </a:r>
            <a:endParaRPr lang="es-e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7FC075-A599-D26C-5A8B-48D9EA78FC7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AD44DC-212C-9072-8B3E-BEF3F93529D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3</a:t>
            </a:fld>
            <a:endParaRPr lang="es-es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D120B48-D2E1-C176-F316-A358DE0489A6}"/>
              </a:ext>
            </a:extLst>
          </p:cNvPr>
          <p:cNvSpPr txBox="1"/>
          <p:nvPr/>
        </p:nvSpPr>
        <p:spPr>
          <a:xfrm>
            <a:off x="484633" y="1419645"/>
            <a:ext cx="3768280" cy="163403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s-es"/>
            </a:defPPr>
            <a:lvl1pPr>
              <a:defRPr sz="1600"/>
            </a:lvl1pPr>
          </a:lstStyle>
          <a:p>
            <a:pPr algn="l" rtl="0">
              <a:lnSpc>
                <a:spcPct val="120000"/>
              </a:lnSpc>
              <a:spcAft>
                <a:spcPts val="800"/>
              </a:spcAft>
            </a:pP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lataforma de 3 motores de alto</a:t>
            </a:r>
            <a:r>
              <a:rPr lang="es-es" sz="1400" b="0" i="0" u="none" baseline="0"/>
              <a:t> rendimiento: proporciona una aspiración potente, garantizando un rendimiento fiable incluso con lodos húmedos,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virutas pesadas</a:t>
            </a:r>
            <a:r>
              <a:rPr lang="es-es" sz="1400" b="0" i="0" u="none" baseline="0"/>
              <a:t> y aplicaciones exigentes. </a:t>
            </a:r>
            <a:endParaRPr lang="es-es" sz="1400" dirty="0"/>
          </a:p>
          <a:p>
            <a:pPr algn="l" rtl="0">
              <a:lnSpc>
                <a:spcPct val="120000"/>
              </a:lnSpc>
              <a:spcAft>
                <a:spcPts val="800"/>
              </a:spcAft>
            </a:pPr>
            <a:r>
              <a:rPr lang="es-es" sz="1400" b="0" i="0" u="none" baseline="0"/>
              <a:t>Diseñado para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urar</a:t>
            </a:r>
            <a:r>
              <a:rPr lang="es-es" sz="1400" b="0" i="0" u="none" baseline="0"/>
              <a:t>, mantiene una alta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roductividad</a:t>
            </a:r>
            <a:r>
              <a:rPr lang="es-es" sz="1400" b="0" i="0" u="none" baseline="0"/>
              <a:t> sin sacrificar la eficiencia.</a:t>
            </a:r>
          </a:p>
        </p:txBody>
      </p:sp>
      <p:pic>
        <p:nvPicPr>
          <p:cNvPr id="2" name="Immagine 1" descr="Immagine che contiene cerchio&#10;&#10;Il contenuto generato dall'IA potrebbe non essere corretto.">
            <a:extLst>
              <a:ext uri="{FF2B5EF4-FFF2-40B4-BE49-F238E27FC236}">
                <a16:creationId xmlns:a16="http://schemas.microsoft.com/office/drawing/2014/main" id="{9B80AFDF-5347-754B-AD54-9A453B665FF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893" t="-3764" r="-695" b="-4524"/>
          <a:stretch>
            <a:fillRect/>
          </a:stretch>
        </p:blipFill>
        <p:spPr>
          <a:xfrm>
            <a:off x="4702775" y="319249"/>
            <a:ext cx="6472628" cy="6363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56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188A45-46AF-3372-B180-D1E407AF1A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magine 15">
            <a:extLst>
              <a:ext uri="{FF2B5EF4-FFF2-40B4-BE49-F238E27FC236}">
                <a16:creationId xmlns:a16="http://schemas.microsoft.com/office/drawing/2014/main" id="{FD2B2925-1159-940D-8E93-CAE266C525C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54500" y="0"/>
            <a:ext cx="7937499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C21A9773-96A1-C0A1-C977-9D82A2EA02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73465" cy="376456"/>
          </a:xfrm>
        </p:spPr>
        <p:txBody>
          <a:bodyPr/>
          <a:lstStyle/>
          <a:p>
            <a:pPr algn="l" rtl="0"/>
            <a:r>
              <a:rPr lang="es-es" b="0" i="0" u="none" baseline="0" dirty="0"/>
              <a:t>Separación automática de virutas y fluidos de corte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E921DBA1-AEF4-8BC3-3666-B7FF5ABB3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s-es" b="1" i="0" u="none" baseline="0"/>
              <a:t>OIL230</a:t>
            </a:r>
            <a:endParaRPr lang="es-e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E6CC89-E440-E340-ADDE-F757DBCC32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392091-1E2A-DC1E-9C94-21590CFD4B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4</a:t>
            </a:fld>
            <a:endParaRPr lang="es-es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374227-638A-886F-F7C4-078128CF71F5}"/>
              </a:ext>
            </a:extLst>
          </p:cNvPr>
          <p:cNvSpPr txBox="1"/>
          <p:nvPr/>
        </p:nvSpPr>
        <p:spPr>
          <a:xfrm>
            <a:off x="482600" y="2059883"/>
            <a:ext cx="2621573" cy="848181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paración automática</a:t>
            </a:r>
            <a:r>
              <a:rPr lang="es-es" sz="1400" b="0" i="0" u="none" baseline="0" dirty="0"/>
              <a:t>  de virutas y fluidos para un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ciclaje</a:t>
            </a:r>
            <a:r>
              <a:rPr lang="es-es" sz="1400" b="0" i="0" u="none" baseline="0" dirty="0"/>
              <a:t> y una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utilización eficient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DD55330-B14F-FCC3-0AD9-A5517B6C2CC7}"/>
              </a:ext>
            </a:extLst>
          </p:cNvPr>
          <p:cNvCxnSpPr>
            <a:cxnSpLocks/>
          </p:cNvCxnSpPr>
          <p:nvPr/>
        </p:nvCxnSpPr>
        <p:spPr>
          <a:xfrm>
            <a:off x="482600" y="2923953"/>
            <a:ext cx="6970823" cy="0"/>
          </a:xfrm>
          <a:prstGeom prst="line">
            <a:avLst/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1A421165-960C-65E3-180A-08BB6B87B225}"/>
              </a:ext>
            </a:extLst>
          </p:cNvPr>
          <p:cNvSpPr txBox="1"/>
          <p:nvPr/>
        </p:nvSpPr>
        <p:spPr>
          <a:xfrm>
            <a:off x="484631" y="3341373"/>
            <a:ext cx="3500227" cy="603306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s-es" sz="1400" b="0" i="0" u="none" baseline="0" dirty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esta de virutas</a:t>
            </a:r>
            <a:r>
              <a:rPr lang="es-es" sz="1400" b="0" i="0" u="none" baseline="0" dirty="0">
                <a:solidFill>
                  <a:srgbClr val="14181F"/>
                </a:solidFill>
              </a:rPr>
              <a:t>  posicionada a la </a:t>
            </a:r>
            <a:r>
              <a:rPr lang="es-es" sz="1400" b="0" i="0" u="none" baseline="0" dirty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ltura</a:t>
            </a:r>
            <a:r>
              <a:rPr lang="es-es" sz="1400" b="0" i="0" u="none" baseline="0" dirty="0">
                <a:solidFill>
                  <a:srgbClr val="14181F"/>
                </a:solidFill>
              </a:rPr>
              <a:t> de </a:t>
            </a:r>
            <a:r>
              <a:rPr lang="es-es" sz="1400" b="0" i="0" u="none" baseline="0">
                <a:solidFill>
                  <a:srgbClr val="14181F"/>
                </a:solidFill>
              </a:rPr>
              <a:t>la </a:t>
            </a:r>
            <a:r>
              <a:rPr lang="es-es" sz="1400" b="0" i="0" u="none" baseline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intura</a:t>
            </a:r>
            <a:r>
              <a:rPr lang="es-es" sz="1400" b="0" i="0" u="none" baseline="0">
                <a:solidFill>
                  <a:srgbClr val="14181F"/>
                </a:solidFill>
              </a:rPr>
              <a:t> </a:t>
            </a:r>
            <a:r>
              <a:rPr lang="es-es" sz="1400" b="0" i="0" u="none" baseline="0" dirty="0">
                <a:solidFill>
                  <a:srgbClr val="14181F"/>
                </a:solidFill>
              </a:rPr>
              <a:t>para reducir la fatiga del operario</a:t>
            </a:r>
            <a:endParaRPr lang="es-es" sz="1400" noProof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9B0A65-D4D0-EDB6-777C-253671B17DE8}"/>
              </a:ext>
            </a:extLst>
          </p:cNvPr>
          <p:cNvSpPr txBox="1"/>
          <p:nvPr/>
        </p:nvSpPr>
        <p:spPr>
          <a:xfrm>
            <a:off x="479426" y="4465389"/>
            <a:ext cx="2623914" cy="848181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s-es" sz="1400" b="0" i="0" u="none" baseline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ácil</a:t>
            </a:r>
            <a:r>
              <a:rPr lang="es-es" sz="1400" b="0" i="0" u="none" baseline="0">
                <a:solidFill>
                  <a:srgbClr val="14181F"/>
                </a:solidFill>
              </a:rPr>
              <a:t> </a:t>
            </a:r>
            <a:r>
              <a:rPr lang="es-es" sz="1400" b="0" i="0" u="none" baseline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cceso</a:t>
            </a:r>
            <a:r>
              <a:rPr lang="es-es" sz="1400" b="0" i="0" u="none" baseline="0">
                <a:solidFill>
                  <a:srgbClr val="14181F"/>
                </a:solidFill>
              </a:rPr>
              <a:t> a la cesta de virutas sin desconectar los cables ni la manguera de descarga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A1AB73C3-3A63-F389-152F-4CC33DF7260E}"/>
              </a:ext>
            </a:extLst>
          </p:cNvPr>
          <p:cNvCxnSpPr>
            <a:cxnSpLocks/>
          </p:cNvCxnSpPr>
          <p:nvPr/>
        </p:nvCxnSpPr>
        <p:spPr>
          <a:xfrm flipV="1">
            <a:off x="482600" y="3094074"/>
            <a:ext cx="8842153" cy="850605"/>
          </a:xfrm>
          <a:prstGeom prst="bentConnector3">
            <a:avLst>
              <a:gd name="adj1" fmla="val 99903"/>
            </a:avLst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227D5E2B-D4E0-D127-0A67-8F08BB1593DF}"/>
              </a:ext>
            </a:extLst>
          </p:cNvPr>
          <p:cNvCxnSpPr>
            <a:cxnSpLocks/>
          </p:cNvCxnSpPr>
          <p:nvPr/>
        </p:nvCxnSpPr>
        <p:spPr>
          <a:xfrm flipV="1">
            <a:off x="482600" y="4231758"/>
            <a:ext cx="8044712" cy="1095153"/>
          </a:xfrm>
          <a:prstGeom prst="bentConnector3">
            <a:avLst>
              <a:gd name="adj1" fmla="val 100092"/>
            </a:avLst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F2693362-D2F4-A83C-5559-5A9564FAB30A}"/>
              </a:ext>
            </a:extLst>
          </p:cNvPr>
          <p:cNvCxnSpPr/>
          <p:nvPr/>
        </p:nvCxnSpPr>
        <p:spPr>
          <a:xfrm flipV="1">
            <a:off x="7044730" y="4740105"/>
            <a:ext cx="0" cy="584791"/>
          </a:xfrm>
          <a:prstGeom prst="line">
            <a:avLst/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9339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0DA9A6-7C85-98BF-BCCA-B44F42DB70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9FA40DD-A112-B823-FF85-3574EE53B6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54500" y="0"/>
            <a:ext cx="7937500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D2D48689-A4DC-7499-0AA4-9F3EB0B8A4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0" y="873877"/>
            <a:ext cx="3563079" cy="376456"/>
          </a:xfrm>
        </p:spPr>
        <p:txBody>
          <a:bodyPr/>
          <a:lstStyle/>
          <a:p>
            <a:pPr algn="l" rtl="0"/>
            <a:r>
              <a:rPr lang="es-es" b="0" i="0" u="none" baseline="0"/>
              <a:t>Funcionamiento continuo, control total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382BC87A-8537-BDE0-6C76-F205AEB3C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s-es" b="1" i="0" u="none" baseline="0"/>
              <a:t>OIL230</a:t>
            </a:r>
            <a:endParaRPr lang="es-e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0F4026-C4EA-2A46-E696-C75D746AA1E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994A74-DCE5-A7B4-82EF-5A463692934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5</a:t>
            </a:fld>
            <a:endParaRPr lang="es-es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CC537F-BCC5-6AD5-D789-2FF2A72D23A7}"/>
              </a:ext>
            </a:extLst>
          </p:cNvPr>
          <p:cNvSpPr txBox="1"/>
          <p:nvPr/>
        </p:nvSpPr>
        <p:spPr>
          <a:xfrm>
            <a:off x="482600" y="1460499"/>
            <a:ext cx="3338774" cy="1378677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400"/>
              </a:spcAft>
            </a:pP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istola de descarga personalizada: </a:t>
            </a:r>
            <a:r>
              <a:rPr lang="es-es" sz="1400" b="0" i="0" u="none" baseline="0" dirty="0"/>
              <a:t>puede utilizarla una sola persona. El operario aspira mientras la pistola permanece sujeta al contenedor, con orientación y control de caudal ajustables.</a:t>
            </a: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1BFED243-5304-267A-F9F3-508F9FCB73B4}"/>
              </a:ext>
            </a:extLst>
          </p:cNvPr>
          <p:cNvSpPr txBox="1"/>
          <p:nvPr/>
        </p:nvSpPr>
        <p:spPr>
          <a:xfrm>
            <a:off x="482600" y="3370228"/>
            <a:ext cx="2910305" cy="1984902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apacidad prácticamente ilimitada: aspiración y descarga </a:t>
            </a:r>
            <a:r>
              <a:rPr lang="es-es" sz="1400" b="0" i="0" u="none" baseline="0"/>
              <a:t>simultáneas sin tiempo de inactividad entre el llenado y el vaciado.</a:t>
            </a:r>
          </a:p>
          <a:p>
            <a:pPr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pagado electrónico automático: </a:t>
            </a:r>
            <a:r>
              <a:rPr lang="es-es" sz="1400" b="0" i="0" u="none" baseline="0"/>
              <a:t>evita el sobrellenado, derrames de líquidos y daños en el motor.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6D8F6BE3-C2C4-B266-82AC-27BBA30DAA7A}"/>
              </a:ext>
            </a:extLst>
          </p:cNvPr>
          <p:cNvCxnSpPr>
            <a:cxnSpLocks/>
          </p:cNvCxnSpPr>
          <p:nvPr/>
        </p:nvCxnSpPr>
        <p:spPr>
          <a:xfrm>
            <a:off x="482600" y="2839177"/>
            <a:ext cx="7451725" cy="1592864"/>
          </a:xfrm>
          <a:prstGeom prst="bentConnector3">
            <a:avLst>
              <a:gd name="adj1" fmla="val 99960"/>
            </a:avLst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864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8E8B6C-8A91-C19A-25AB-723A2EA821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C413944-39ED-2FD9-365D-C9F7955906B3}"/>
              </a:ext>
            </a:extLst>
          </p:cNvPr>
          <p:cNvSpPr/>
          <p:nvPr/>
        </p:nvSpPr>
        <p:spPr>
          <a:xfrm>
            <a:off x="6200775" y="0"/>
            <a:ext cx="5991226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sz="2000" noProof="0" dirty="0">
              <a:solidFill>
                <a:schemeClr val="tx1"/>
              </a:solidFill>
            </a:endParaRP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724A3A65-1F94-4CC2-0DE1-2375188C92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es-es" b="0" i="0" u="none" baseline="0"/>
              <a:t>Bomba debajo del contenedor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4967E2DC-1146-3CF0-4D4A-D03E0F3B7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s-es" b="1" i="0" u="none" baseline="0"/>
              <a:t>OIL230</a:t>
            </a:r>
            <a:endParaRPr lang="es-e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9F9188-1161-8FD5-5F22-60C1030E66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DDB5DB-2BD1-B67C-C377-42FBB7516A1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6</a:t>
            </a:fld>
            <a:endParaRPr lang="es-es" noProof="0" dirty="0"/>
          </a:p>
        </p:txBody>
      </p:sp>
      <p:pic>
        <p:nvPicPr>
          <p:cNvPr id="3" name="Immagine 2" descr="Immagine che contiene macchina&#10;&#10;Il contenuto generato dall'IA potrebbe non essere corretto.">
            <a:extLst>
              <a:ext uri="{FF2B5EF4-FFF2-40B4-BE49-F238E27FC236}">
                <a16:creationId xmlns:a16="http://schemas.microsoft.com/office/drawing/2014/main" id="{7AE742F4-5F39-626B-07FB-8C7F5EF4A0B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5086" y="639418"/>
            <a:ext cx="3854598" cy="5904714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9EFE4C83-F7D2-12CD-28D0-B884FA1B668A}"/>
              </a:ext>
            </a:extLst>
          </p:cNvPr>
          <p:cNvSpPr txBox="1"/>
          <p:nvPr/>
        </p:nvSpPr>
        <p:spPr>
          <a:xfrm>
            <a:off x="482599" y="1421732"/>
            <a:ext cx="5503863" cy="30251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None/>
              <a:tabLst/>
            </a:pP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Bomba autocebante externa</a:t>
            </a:r>
          </a:p>
          <a:p>
            <a:pPr marL="201168" marR="0" lvl="0" indent="-201168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impieza y fiabilidad: </a:t>
            </a:r>
            <a:r>
              <a:rPr lang="es-es" sz="1400" b="0" i="0" u="none" baseline="0">
                <a:ea typeface="Roboto Medium" panose="02000000000000000000" pitchFamily="2" charset="0"/>
              </a:rPr>
              <a:t>sin contacto con líquidos contaminados.</a:t>
            </a:r>
          </a:p>
          <a:p>
            <a:pPr marL="201168" marR="0" lvl="0" indent="-201168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aximiza la capacidad</a:t>
            </a:r>
            <a:r>
              <a:rPr lang="es-es" sz="1400" b="0" i="0" u="none" baseline="0"/>
              <a:t> del</a:t>
            </a:r>
            <a:r>
              <a:rPr lang="es-es" sz="1400" b="0" i="0" u="none" baseline="0">
                <a:ea typeface="Roboto Medium" panose="02000000000000000000" pitchFamily="2" charset="0"/>
              </a:rPr>
              <a:t>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ontenedor</a:t>
            </a:r>
            <a:r>
              <a:rPr lang="es-es" sz="1400" b="0" i="0" u="none" baseline="0"/>
              <a:t>:</a:t>
            </a:r>
            <a:r>
              <a:rPr lang="es-es" sz="1400" b="0" i="0" u="none" baseline="0">
                <a:ea typeface="Roboto Medium" panose="02000000000000000000" pitchFamily="2" charset="0"/>
              </a:rPr>
              <a:t> más líquido, menos tiempo de inactividad.</a:t>
            </a:r>
          </a:p>
          <a:p>
            <a:pPr marL="201168" marR="0" lvl="0" indent="-201168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entro de gravedad bajo </a:t>
            </a:r>
            <a:r>
              <a:rPr lang="es-es" sz="1400" b="0" i="0" u="none" baseline="0">
                <a:ea typeface="Roboto Medium" panose="02000000000000000000" pitchFamily="2" charset="0"/>
              </a:rPr>
              <a:t>para una gran estabilidad.</a:t>
            </a:r>
          </a:p>
          <a:p>
            <a:pPr marL="201168" marR="0" lvl="0" indent="-201168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ácil acceso para el mantenimiento: </a:t>
            </a:r>
            <a:r>
              <a:rPr lang="es-es" sz="1400" b="0" i="0" u="none" baseline="0">
                <a:ea typeface="Roboto Medium" panose="02000000000000000000" pitchFamily="2" charset="0"/>
              </a:rPr>
              <a:t>la bomba siempre está al alcance de la mano.</a:t>
            </a:r>
            <a:br>
              <a:rPr lang="es-es" sz="1400">
                <a:ea typeface="Roboto Medium" panose="02000000000000000000" pitchFamily="2" charset="0"/>
              </a:rPr>
            </a:br>
            <a:endParaRPr lang="es-es" sz="1400" noProof="0" dirty="0">
              <a:ea typeface="Roboto Medium" panose="02000000000000000000" pitchFamily="2" charset="0"/>
            </a:endParaRPr>
          </a:p>
          <a:p>
            <a:pPr algn="l" rtl="0">
              <a:lnSpc>
                <a:spcPct val="120000"/>
              </a:lnSpc>
              <a:spcAft>
                <a:spcPts val="800"/>
              </a:spcAft>
            </a:pP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escarga de alta velocidad</a:t>
            </a:r>
          </a:p>
          <a:p>
            <a:pPr marL="285750" indent="-285750" algn="l" rtl="0">
              <a:lnSpc>
                <a:spcPct val="12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es" sz="1400" b="0" i="0" u="none" baseline="0"/>
              <a:t> Diseño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utocebante</a:t>
            </a:r>
            <a:r>
              <a:rPr lang="es-es" sz="1400" b="0" i="0" u="none" baseline="0"/>
              <a:t> para un funcionamiento instantáneo.</a:t>
            </a:r>
          </a:p>
          <a:p>
            <a:pPr marL="285750" indent="-285750" algn="l" rtl="0">
              <a:lnSpc>
                <a:spcPct val="12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es" sz="1400" b="0" i="0" u="none" baseline="0"/>
              <a:t>Se vacían hasta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1000 litros</a:t>
            </a:r>
            <a:r>
              <a:rPr lang="es-es" sz="1400" b="0" i="0" u="none" baseline="0"/>
              <a:t>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n solo 10 minutos.</a:t>
            </a:r>
          </a:p>
        </p:txBody>
      </p:sp>
    </p:spTree>
    <p:extLst>
      <p:ext uri="{BB962C8B-B14F-4D97-AF65-F5344CB8AC3E}">
        <p14:creationId xmlns:p14="http://schemas.microsoft.com/office/powerpoint/2010/main" val="149419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7C30DC-EF8A-54F1-740F-757B9F655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154806F4-3ECA-C9FD-D2B2-886597BF4735}"/>
              </a:ext>
            </a:extLst>
          </p:cNvPr>
          <p:cNvSpPr/>
          <p:nvPr/>
        </p:nvSpPr>
        <p:spPr>
          <a:xfrm>
            <a:off x="-2928" y="0"/>
            <a:ext cx="12192000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sz="2000" noProof="0" dirty="0">
              <a:solidFill>
                <a:schemeClr val="tx1"/>
              </a:solidFill>
            </a:endParaRPr>
          </a:p>
        </p:txBody>
      </p:sp>
      <p:sp>
        <p:nvSpPr>
          <p:cNvPr id="16" name="页脚占位符 15">
            <a:extLst>
              <a:ext uri="{FF2B5EF4-FFF2-40B4-BE49-F238E27FC236}">
                <a16:creationId xmlns:a16="http://schemas.microsoft.com/office/drawing/2014/main" id="{47822BD4-BBD7-EC66-609D-E554A3D54AB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7" name="灯片编号占位符 16">
            <a:extLst>
              <a:ext uri="{FF2B5EF4-FFF2-40B4-BE49-F238E27FC236}">
                <a16:creationId xmlns:a16="http://schemas.microsoft.com/office/drawing/2014/main" id="{1D74A962-AD41-604F-4A14-2674BDD1A95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7</a:t>
            </a:fld>
            <a:endParaRPr lang="es-es" noProof="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4E8821D-E0BE-6D96-F550-89CE08CBA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teligente, sencillo e intuitivo</a:t>
            </a:r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95FF7E5C-CA4A-92E1-F631-8A98FF83CC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78919"/>
          </a:xfrm>
        </p:spPr>
        <p:txBody>
          <a:bodyPr/>
          <a:lstStyle/>
          <a:p>
            <a:pPr algn="l" rtl="0"/>
            <a:r>
              <a:rPr lang="es-es" b="1" i="0" u="none" baseline="0"/>
              <a:t>IU del OIL230</a:t>
            </a:r>
          </a:p>
        </p:txBody>
      </p:sp>
      <p:pic>
        <p:nvPicPr>
          <p:cNvPr id="55" name="Immagine 54">
            <a:extLst>
              <a:ext uri="{FF2B5EF4-FFF2-40B4-BE49-F238E27FC236}">
                <a16:creationId xmlns:a16="http://schemas.microsoft.com/office/drawing/2014/main" id="{E7BF5ECA-424B-E261-DCD5-CFB7A92AAE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832216" y="1694934"/>
            <a:ext cx="6999997" cy="4578866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0AD44AF7-B766-24A3-CB35-252991810964}"/>
              </a:ext>
            </a:extLst>
          </p:cNvPr>
          <p:cNvSpPr txBox="1"/>
          <p:nvPr/>
        </p:nvSpPr>
        <p:spPr>
          <a:xfrm>
            <a:off x="482599" y="1894828"/>
            <a:ext cx="2525952" cy="8638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s-es" sz="16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Un interruptor principal </a:t>
            </a:r>
            <a:r>
              <a:rPr lang="es-es" sz="1600" b="0" i="0" u="none" baseline="0"/>
              <a:t>para controlar los tres modos de funcionamiento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905329FC-22F9-BD72-703D-26C26ABBF92E}"/>
              </a:ext>
            </a:extLst>
          </p:cNvPr>
          <p:cNvSpPr txBox="1"/>
          <p:nvPr/>
        </p:nvSpPr>
        <p:spPr>
          <a:xfrm>
            <a:off x="482599" y="3037827"/>
            <a:ext cx="2525952" cy="8638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s-es" sz="1600" b="0" i="0" u="none" baseline="0"/>
              <a:t>La luz de </a:t>
            </a:r>
            <a:r>
              <a:rPr lang="es-es" sz="16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stado</a:t>
            </a:r>
            <a:r>
              <a:rPr lang="es-es" sz="1600" b="0" i="0" u="none" baseline="0"/>
              <a:t> de la </a:t>
            </a:r>
            <a:r>
              <a:rPr lang="es-es" sz="16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bomba</a:t>
            </a:r>
            <a:r>
              <a:rPr lang="es-es" sz="1600" b="0" i="0" u="none" baseline="0"/>
              <a:t> muestra claramente cuando la descarga está activa.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4C6BBE30-A289-5668-B809-A8101DE85AF9}"/>
              </a:ext>
            </a:extLst>
          </p:cNvPr>
          <p:cNvSpPr txBox="1"/>
          <p:nvPr/>
        </p:nvSpPr>
        <p:spPr>
          <a:xfrm>
            <a:off x="9186822" y="1894828"/>
            <a:ext cx="2529011" cy="8638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s-es" sz="16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os</a:t>
            </a:r>
            <a:r>
              <a:rPr lang="es-es" sz="1600" b="0" i="0" u="none" baseline="0" dirty="0"/>
              <a:t> </a:t>
            </a:r>
            <a:r>
              <a:rPr lang="es-es" sz="16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indicadores</a:t>
            </a:r>
            <a:r>
              <a:rPr lang="es-es" sz="1600" b="0" i="0" u="none" baseline="0" dirty="0"/>
              <a:t> LED proporcionan información instantánea sobre el estado de la máquina y los niveles de líquido.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79BAB9E-1FC3-DE87-0A5E-924C47053555}"/>
              </a:ext>
            </a:extLst>
          </p:cNvPr>
          <p:cNvSpPr txBox="1"/>
          <p:nvPr/>
        </p:nvSpPr>
        <p:spPr>
          <a:xfrm>
            <a:off x="9222092" y="3444494"/>
            <a:ext cx="2493741" cy="115929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s-es" sz="16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lección </a:t>
            </a:r>
            <a:r>
              <a:rPr lang="es-es" sz="1600" b="0" i="0" u="none" baseline="0" dirty="0"/>
              <a:t>del </a:t>
            </a:r>
            <a:r>
              <a:rPr lang="es-es" sz="16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otor</a:t>
            </a:r>
            <a:r>
              <a:rPr lang="es-es" sz="1600" b="0" i="0" u="none" baseline="0" dirty="0"/>
              <a:t>: funciona con uno, dos o tres motores dependiendo del trabajo.</a:t>
            </a:r>
          </a:p>
        </p:txBody>
      </p:sp>
    </p:spTree>
    <p:extLst>
      <p:ext uri="{BB962C8B-B14F-4D97-AF65-F5344CB8AC3E}">
        <p14:creationId xmlns:p14="http://schemas.microsoft.com/office/powerpoint/2010/main" val="2342733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2A96AB-FBC3-2E82-0625-485C9862F9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12840D2-12E1-AF52-8394-8DD23E73F92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54500" y="0"/>
            <a:ext cx="7937500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87A8344-1FBF-7580-D3AF-3A8CEFD553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es-es" b="0" i="0" u="none" baseline="0"/>
              <a:t>¡Todo en su lugar!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CDD4A85F-8871-4997-7DFF-FAA4B6000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s-es" b="1" i="0" u="none" baseline="0"/>
              <a:t>OIL230</a:t>
            </a:r>
            <a:endParaRPr lang="es-e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103EBF-15E3-44C5-77A4-D4958FFDE8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F6D709-E5B8-4740-99DA-3B1CD96A013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8</a:t>
            </a:fld>
            <a:endParaRPr lang="es-es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7F63A6-B9A6-DD45-763F-6408CBC11EFA}"/>
              </a:ext>
            </a:extLst>
          </p:cNvPr>
          <p:cNvSpPr txBox="1"/>
          <p:nvPr/>
        </p:nvSpPr>
        <p:spPr>
          <a:xfrm>
            <a:off x="475521" y="3002952"/>
            <a:ext cx="3575032" cy="589649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s-es" sz="1400" b="0" i="0" u="none" baseline="0"/>
              <a:t>La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esta</a:t>
            </a:r>
            <a:r>
              <a:rPr lang="es-es" sz="1400" b="0" i="0" u="none" baseline="0"/>
              <a:t> integrada mantiene los accesorios organizados y siempre a mano.</a:t>
            </a: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21499290-30A4-F902-3ABB-3D82DE0BB507}"/>
              </a:ext>
            </a:extLst>
          </p:cNvPr>
          <p:cNvSpPr txBox="1"/>
          <p:nvPr/>
        </p:nvSpPr>
        <p:spPr>
          <a:xfrm>
            <a:off x="482600" y="1422400"/>
            <a:ext cx="3556000" cy="589649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s-es" sz="1400" b="0" i="0" u="none" baseline="0"/>
              <a:t>Los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oportes especiales para mangueras </a:t>
            </a:r>
            <a:r>
              <a:rPr lang="es-es" sz="1400" b="0" i="0" u="none" baseline="0"/>
              <a:t>mantienen las mangueras </a:t>
            </a:r>
            <a:r>
              <a:rPr lang="es-es" sz="1400" b="0" i="0" u="none" baseline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ordenadas</a:t>
            </a:r>
            <a:r>
              <a:rPr lang="es-es" sz="1400" b="0" i="0" u="none" baseline="0"/>
              <a:t> a bordo y siempre listas para su uso.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6EE16ADD-8140-0B14-D719-B05BCD7E379E}"/>
              </a:ext>
            </a:extLst>
          </p:cNvPr>
          <p:cNvCxnSpPr>
            <a:cxnSpLocks/>
          </p:cNvCxnSpPr>
          <p:nvPr/>
        </p:nvCxnSpPr>
        <p:spPr>
          <a:xfrm rot="10800000" flipV="1">
            <a:off x="482602" y="2838450"/>
            <a:ext cx="8242298" cy="756164"/>
          </a:xfrm>
          <a:prstGeom prst="bentConnector3">
            <a:avLst>
              <a:gd name="adj1" fmla="val -171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AD7E34BB-BD60-2889-C6F7-B8CA6BA36A29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9426" y="779741"/>
            <a:ext cx="7326662" cy="1501477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33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F58FA0-E609-8F7C-D5B8-1AAE4D2445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35A0DCF-4DC0-AC2F-1A98-EE883C65A78D}"/>
              </a:ext>
            </a:extLst>
          </p:cNvPr>
          <p:cNvSpPr/>
          <p:nvPr/>
        </p:nvSpPr>
        <p:spPr>
          <a:xfrm>
            <a:off x="4254500" y="0"/>
            <a:ext cx="7937500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sz="2000">
              <a:solidFill>
                <a:schemeClr val="tx1"/>
              </a:solidFill>
            </a:endParaRP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8B0C589-2272-621D-8481-2881954E14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778979" cy="376456"/>
          </a:xfrm>
        </p:spPr>
        <p:txBody>
          <a:bodyPr/>
          <a:lstStyle/>
          <a:p>
            <a:pPr algn="l" rtl="0"/>
            <a:r>
              <a:rPr lang="es-es" b="0" i="0" u="none" baseline="0"/>
              <a:t>Seguridad y organización a bordo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FD332054-8C81-31D2-A63D-6529A2AD1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775074" cy="388013"/>
          </a:xfrm>
        </p:spPr>
        <p:txBody>
          <a:bodyPr/>
          <a:lstStyle/>
          <a:p>
            <a:pPr algn="l" rtl="0"/>
            <a:r>
              <a:rPr lang="es-es" b="1" i="0" u="none" baseline="0"/>
              <a:t>OIL230</a:t>
            </a:r>
            <a:endParaRPr lang="es-e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639D73-F0F1-1507-1BC7-D77B55764B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9F7B7D-AD85-E35A-FBE0-A88165EE49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9</a:t>
            </a:fld>
            <a:endParaRPr lang="es-es" noProof="0" dirty="0"/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C93FC359-A529-3276-7D96-57523BF843D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64483" y="775147"/>
            <a:ext cx="3617345" cy="4837931"/>
          </a:xfrm>
          <a:prstGeom prst="rect">
            <a:avLst/>
          </a:prstGeom>
        </p:spPr>
      </p:pic>
      <p:sp>
        <p:nvSpPr>
          <p:cNvPr id="2" name="TextBox 11">
            <a:extLst>
              <a:ext uri="{FF2B5EF4-FFF2-40B4-BE49-F238E27FC236}">
                <a16:creationId xmlns:a16="http://schemas.microsoft.com/office/drawing/2014/main" id="{8A17C1FE-7C44-2A6C-BBDB-C2B8B38F6D1F}"/>
              </a:ext>
            </a:extLst>
          </p:cNvPr>
          <p:cNvSpPr txBox="1"/>
          <p:nvPr/>
        </p:nvSpPr>
        <p:spPr>
          <a:xfrm>
            <a:off x="482600" y="1422400"/>
            <a:ext cx="2847454" cy="523220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algn="l" rtl="0">
              <a:defRPr/>
            </a:pP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Nada</a:t>
            </a:r>
            <a:r>
              <a:rPr lang="es-es" sz="1400" b="0" i="0" u="none" baseline="0"/>
              <a:t>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 suelta </a:t>
            </a:r>
            <a:r>
              <a:rPr lang="es-es" sz="1400" b="0" i="0" u="none" baseline="0"/>
              <a:t>ni se desenrolla durante el transporte.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3DF90701-A9EA-926E-E753-65524701129D}"/>
              </a:ext>
            </a:extLst>
          </p:cNvPr>
          <p:cNvSpPr txBox="1"/>
          <p:nvPr/>
        </p:nvSpPr>
        <p:spPr>
          <a:xfrm>
            <a:off x="482601" y="5074385"/>
            <a:ext cx="2902044" cy="523220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>
            <a:defPPr>
              <a:defRPr lang="es-es"/>
            </a:defPPr>
            <a:lvl1pPr lvl="0">
              <a:defRPr sz="1600"/>
            </a:lvl1pPr>
          </a:lstStyle>
          <a:p>
            <a:pPr algn="l" rtl="0"/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able</a:t>
            </a:r>
            <a:r>
              <a:rPr lang="es-es" sz="1400" b="0" i="0" u="none" baseline="0"/>
              <a:t> de alimentación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bien</a:t>
            </a:r>
            <a:r>
              <a:rPr lang="es-es" sz="1400" b="0" i="0" u="none" baseline="0"/>
              <a:t> enrollado alrededor del asa.</a:t>
            </a:r>
          </a:p>
        </p:txBody>
      </p:sp>
      <p:sp>
        <p:nvSpPr>
          <p:cNvPr id="15" name="TextBox 11">
            <a:extLst>
              <a:ext uri="{FF2B5EF4-FFF2-40B4-BE49-F238E27FC236}">
                <a16:creationId xmlns:a16="http://schemas.microsoft.com/office/drawing/2014/main" id="{32AD0FC6-A548-5274-FF36-2A1153E0FCCE}"/>
              </a:ext>
            </a:extLst>
          </p:cNvPr>
          <p:cNvSpPr txBox="1"/>
          <p:nvPr/>
        </p:nvSpPr>
        <p:spPr>
          <a:xfrm>
            <a:off x="482600" y="2335396"/>
            <a:ext cx="3367505" cy="523220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algn="l" rtl="0">
              <a:defRPr/>
            </a:pPr>
            <a:r>
              <a:rPr lang="es-es" sz="1400" b="0" i="0" u="none" baseline="0" dirty="0"/>
              <a:t>Mangueras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seguradas</a:t>
            </a:r>
            <a:r>
              <a:rPr lang="es-es" sz="1400" b="0" i="0" u="none" baseline="0" dirty="0"/>
              <a:t> con los extremos orientados hacia arriba para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vitar</a:t>
            </a:r>
            <a:r>
              <a:rPr lang="es-es" sz="1400" b="0" i="0" u="none" baseline="0" dirty="0"/>
              <a:t>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goteos</a:t>
            </a:r>
            <a:r>
              <a:rPr lang="es-es" sz="1400" b="0" i="0" u="none" baseline="0" dirty="0"/>
              <a:t>.</a:t>
            </a:r>
          </a:p>
        </p:txBody>
      </p:sp>
      <p:sp>
        <p:nvSpPr>
          <p:cNvPr id="18" name="TextBox 11">
            <a:extLst>
              <a:ext uri="{FF2B5EF4-FFF2-40B4-BE49-F238E27FC236}">
                <a16:creationId xmlns:a16="http://schemas.microsoft.com/office/drawing/2014/main" id="{BF24548F-3DDA-56DD-7748-C404610F1B2A}"/>
              </a:ext>
            </a:extLst>
          </p:cNvPr>
          <p:cNvSpPr txBox="1"/>
          <p:nvPr/>
        </p:nvSpPr>
        <p:spPr>
          <a:xfrm>
            <a:off x="482600" y="3248392"/>
            <a:ext cx="3107623" cy="523219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defRPr/>
            </a:pP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ccesorios</a:t>
            </a:r>
            <a:r>
              <a:rPr lang="es-es" sz="1400" b="0" i="0" u="none" baseline="0"/>
              <a:t>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lmacenados</a:t>
            </a:r>
            <a:r>
              <a:rPr lang="es-es" sz="1400" b="0" i="0" u="none" baseline="0"/>
              <a:t> en la cesta de a bordo, siempre ordenados.</a:t>
            </a:r>
          </a:p>
        </p:txBody>
      </p:sp>
      <p:sp>
        <p:nvSpPr>
          <p:cNvPr id="20" name="TextBox 11">
            <a:extLst>
              <a:ext uri="{FF2B5EF4-FFF2-40B4-BE49-F238E27FC236}">
                <a16:creationId xmlns:a16="http://schemas.microsoft.com/office/drawing/2014/main" id="{DB09D313-FA9F-7885-8C51-5EA8460CA03A}"/>
              </a:ext>
            </a:extLst>
          </p:cNvPr>
          <p:cNvSpPr txBox="1"/>
          <p:nvPr/>
        </p:nvSpPr>
        <p:spPr>
          <a:xfrm>
            <a:off x="482599" y="4161388"/>
            <a:ext cx="3637013" cy="523219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algn="l" rtl="0">
              <a:defRPr/>
            </a:pP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Bandeja</a:t>
            </a:r>
            <a:r>
              <a:rPr lang="es-es" sz="1400" b="0" i="0" u="none" baseline="0" dirty="0"/>
              <a:t> de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goteo</a:t>
            </a:r>
            <a:r>
              <a:rPr lang="es-es" sz="1400" b="0" i="0" u="none" baseline="0" dirty="0"/>
              <a:t> integrada colocada de forma ordenada en el soporte de la manguera.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B8A26610-4043-41BE-A0A1-9189C52A0E36}"/>
              </a:ext>
            </a:extLst>
          </p:cNvPr>
          <p:cNvSpPr txBox="1"/>
          <p:nvPr/>
        </p:nvSpPr>
        <p:spPr>
          <a:xfrm>
            <a:off x="4973784" y="5755643"/>
            <a:ext cx="6155874" cy="35522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rtl="0">
              <a:lnSpc>
                <a:spcPct val="120000"/>
              </a:lnSpc>
              <a:spcAft>
                <a:spcPts val="400"/>
              </a:spcAft>
            </a:pPr>
            <a:r>
              <a:rPr lang="es-es" sz="1000" b="0" i="0" u="none" baseline="0">
                <a:solidFill>
                  <a:schemeClr val="bg2">
                    <a:lumMod val="75000"/>
                  </a:schemeClr>
                </a:solidFill>
              </a:rPr>
              <a:t>Los accesorios y la </a:t>
            </a:r>
            <a:r>
              <a:rPr lang="es-es" sz="1000" b="0" i="0" u="none" baseline="0">
                <a:solidFill>
                  <a:schemeClr val="bg2">
                    <a:lumMod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esta</a:t>
            </a:r>
            <a:r>
              <a:rPr lang="es-es" sz="1000" b="0" i="0" u="none" baseline="0">
                <a:solidFill>
                  <a:schemeClr val="bg2">
                    <a:lumMod val="75000"/>
                  </a:schemeClr>
                </a:solidFill>
              </a:rPr>
              <a:t> para accesorios</a:t>
            </a:r>
            <a:r>
              <a:rPr lang="es-es" sz="1000" b="0" i="0" u="none" baseline="0">
                <a:solidFill>
                  <a:schemeClr val="bg2">
                    <a:lumMod val="7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 no están incluidos en la versión básica</a:t>
            </a:r>
            <a:r>
              <a:rPr lang="es-es" sz="1000" b="0" i="0" u="none" baseline="0">
                <a:solidFill>
                  <a:schemeClr val="bg2">
                    <a:lumMod val="75000"/>
                  </a:schemeClr>
                </a:solidFill>
              </a:rPr>
              <a:t>. Los detalles sobre los elementos incluidos </a:t>
            </a:r>
            <a:br>
              <a:rPr lang="es-es" sz="1000">
                <a:solidFill>
                  <a:schemeClr val="bg2">
                    <a:lumMod val="75000"/>
                  </a:schemeClr>
                </a:solidFill>
              </a:rPr>
            </a:br>
            <a:r>
              <a:rPr lang="es-es" sz="1000" b="0" i="0" u="none" baseline="0">
                <a:solidFill>
                  <a:schemeClr val="bg2">
                    <a:lumMod val="75000"/>
                  </a:schemeClr>
                </a:solidFill>
              </a:rPr>
              <a:t>y los accesorios recomendados se proporcionan en la sección específica de esta presentación.</a:t>
            </a:r>
            <a:endParaRPr lang="es-es" sz="1000" noProof="0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89F480D0-6A8E-D828-789D-2433805F999D}"/>
              </a:ext>
            </a:extLst>
          </p:cNvPr>
          <p:cNvCxnSpPr>
            <a:cxnSpLocks/>
          </p:cNvCxnSpPr>
          <p:nvPr/>
        </p:nvCxnSpPr>
        <p:spPr>
          <a:xfrm rot="10800000" flipV="1">
            <a:off x="482603" y="1412875"/>
            <a:ext cx="5393097" cy="1445584"/>
          </a:xfrm>
          <a:prstGeom prst="bentConnector3">
            <a:avLst>
              <a:gd name="adj1" fmla="val -193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5E4720F4-038C-9806-4AED-598729A72B90}"/>
              </a:ext>
            </a:extLst>
          </p:cNvPr>
          <p:cNvCxnSpPr>
            <a:cxnSpLocks/>
          </p:cNvCxnSpPr>
          <p:nvPr/>
        </p:nvCxnSpPr>
        <p:spPr>
          <a:xfrm rot="10800000" flipV="1">
            <a:off x="482604" y="3161553"/>
            <a:ext cx="5613396" cy="618988"/>
          </a:xfrm>
          <a:prstGeom prst="bentConnector3">
            <a:avLst>
              <a:gd name="adj1" fmla="val -40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Connector: Elbow 227">
            <a:extLst>
              <a:ext uri="{FF2B5EF4-FFF2-40B4-BE49-F238E27FC236}">
                <a16:creationId xmlns:a16="http://schemas.microsoft.com/office/drawing/2014/main" id="{0F19E8F4-96AA-39F6-C6D9-AAB5542040A2}"/>
              </a:ext>
            </a:extLst>
          </p:cNvPr>
          <p:cNvCxnSpPr>
            <a:cxnSpLocks/>
          </p:cNvCxnSpPr>
          <p:nvPr/>
        </p:nvCxnSpPr>
        <p:spPr>
          <a:xfrm rot="10800000" flipV="1">
            <a:off x="482602" y="3848847"/>
            <a:ext cx="6653304" cy="853776"/>
          </a:xfrm>
          <a:prstGeom prst="bentConnector3">
            <a:avLst>
              <a:gd name="adj1" fmla="val -124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magine 8">
            <a:extLst>
              <a:ext uri="{FF2B5EF4-FFF2-40B4-BE49-F238E27FC236}">
                <a16:creationId xmlns:a16="http://schemas.microsoft.com/office/drawing/2014/main" id="{5033930D-5D28-0B73-AA46-F3745FF4A2C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6" r="-4826"/>
          <a:stretch>
            <a:fillRect/>
          </a:stretch>
        </p:blipFill>
        <p:spPr>
          <a:xfrm>
            <a:off x="7606941" y="873342"/>
            <a:ext cx="3691784" cy="5020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144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D90EA0-E4EA-387D-54D6-8BFFAD042F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>
            <a:extLst>
              <a:ext uri="{FF2B5EF4-FFF2-40B4-BE49-F238E27FC236}">
                <a16:creationId xmlns:a16="http://schemas.microsoft.com/office/drawing/2014/main" id="{720CF8D5-906D-D876-105C-92D98A1D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s-es" b="1" i="0" u="none" baseline="0"/>
              <a:t>Agenda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F5970E3A-1388-710F-E6FE-FB0D3501FE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968167" y="1381125"/>
            <a:ext cx="2026317" cy="698238"/>
          </a:xfrm>
        </p:spPr>
        <p:txBody>
          <a:bodyPr/>
          <a:lstStyle/>
          <a:p>
            <a:pPr algn="l" rtl="0"/>
            <a:r>
              <a:rPr lang="es-es" b="0" i="0" u="none" baseline="0"/>
              <a:t>Propuesta de valor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C985F8D-9759-A37A-D523-175C125AD85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68167" y="2222844"/>
            <a:ext cx="2026317" cy="698238"/>
          </a:xfrm>
        </p:spPr>
        <p:txBody>
          <a:bodyPr/>
          <a:lstStyle/>
          <a:p>
            <a:pPr algn="l" rtl="0"/>
            <a:r>
              <a:rPr lang="es-es" b="0" i="0" u="none" baseline="0"/>
              <a:t>Uso y aplicaciones </a:t>
            </a:r>
            <a:br>
              <a:rPr lang="es-es"/>
            </a:br>
            <a:r>
              <a:rPr lang="es-es" b="0" i="0" u="none" baseline="0"/>
              <a:t>principales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2285E7E8-6837-6899-2A15-FE7442C643A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68167" y="3064563"/>
            <a:ext cx="2026317" cy="698238"/>
          </a:xfrm>
        </p:spPr>
        <p:txBody>
          <a:bodyPr/>
          <a:lstStyle/>
          <a:p>
            <a:pPr algn="l" rtl="0"/>
            <a:r>
              <a:rPr lang="es-es" b="0" i="0" u="none" baseline="0"/>
              <a:t>Características</a:t>
            </a:r>
            <a:br>
              <a:rPr lang="es-es"/>
            </a:br>
            <a:r>
              <a:rPr lang="es-es" b="0" i="0" u="none" baseline="0"/>
              <a:t> y ventajas principales</a:t>
            </a: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79E7F735-4BE6-D4CB-07CF-C20B43D18A5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68167" y="3906282"/>
            <a:ext cx="2026317" cy="698238"/>
          </a:xfrm>
        </p:spPr>
        <p:txBody>
          <a:bodyPr/>
          <a:lstStyle/>
          <a:p>
            <a:pPr algn="l" rtl="0"/>
            <a:r>
              <a:rPr lang="es-es" b="0" i="0" u="none" baseline="0"/>
              <a:t>Resumen del producto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0E893BC6-4E28-E046-59DD-D7BDD5F8B40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pPr rtl="0"/>
            <a:r>
              <a:rPr lang="es-es" b="0" i="0" u="none" baseline="0"/>
              <a:t>1</a:t>
            </a:r>
            <a:endParaRPr lang="es-es" altLang="en-US"/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DB6EFB96-A3B1-C913-FBBD-3B0CE7EFC89D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pPr rtl="0"/>
            <a:r>
              <a:rPr lang="es-es" b="0" i="0" u="none" baseline="0"/>
              <a:t>2</a:t>
            </a:r>
            <a:endParaRPr lang="es-es" alt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5FEF59D7-8AB0-63D5-4DB4-67204E55C32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rtl="0"/>
            <a:r>
              <a:rPr lang="es-es" b="0" i="0" u="none" baseline="0"/>
              <a:t>3</a:t>
            </a:r>
            <a:endParaRPr lang="es-es" alt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10508012-B834-4232-0B74-20611A6AA05F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pPr rtl="0"/>
            <a:r>
              <a:rPr lang="es-es" b="0" i="0" u="none" baseline="0"/>
              <a:t>4</a:t>
            </a:r>
            <a:endParaRPr lang="es-es" altLang="en-US"/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AAFF2014-4A13-1436-49DA-CAA778EAF21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313447" y="1381125"/>
            <a:ext cx="2839953" cy="698238"/>
          </a:xfrm>
        </p:spPr>
        <p:txBody>
          <a:bodyPr/>
          <a:lstStyle/>
          <a:p>
            <a:pPr algn="l" rtl="0"/>
            <a:r>
              <a:rPr lang="es-es" b="0" i="0" u="none" baseline="0"/>
              <a:t>Accesorios</a:t>
            </a:r>
            <a:endParaRPr lang="es-es" altLang="en-US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5BDB621C-1EF0-4846-D319-5088246E79E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313447" y="2222844"/>
            <a:ext cx="2839953" cy="698238"/>
          </a:xfrm>
        </p:spPr>
        <p:txBody>
          <a:bodyPr/>
          <a:lstStyle/>
          <a:p>
            <a:pPr algn="l" rtl="0"/>
            <a:r>
              <a:rPr lang="es-es" b="0" i="0" u="none" baseline="0"/>
              <a:t>Especificaciones técnicas</a:t>
            </a:r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178C322-E4FB-E028-D232-68842B1FBEFC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4462880" y="1381125"/>
            <a:ext cx="698400" cy="698238"/>
          </a:xfrm>
        </p:spPr>
        <p:txBody>
          <a:bodyPr/>
          <a:lstStyle/>
          <a:p>
            <a:pPr rtl="0"/>
            <a:r>
              <a:rPr lang="es-es" b="0" i="0" u="none" baseline="0"/>
              <a:t>5</a:t>
            </a:r>
            <a:endParaRPr lang="es-es" altLang="en-US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F3290E38-2B5F-465F-50E4-89B4FB0DEE7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4462880" y="2222844"/>
            <a:ext cx="698400" cy="698238"/>
          </a:xfrm>
        </p:spPr>
        <p:txBody>
          <a:bodyPr/>
          <a:lstStyle/>
          <a:p>
            <a:pPr rtl="0"/>
            <a:r>
              <a:rPr lang="es-es" b="0" i="0" u="none" baseline="0"/>
              <a:t>6</a:t>
            </a:r>
            <a:endParaRPr lang="es-es" altLang="en-US"/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27FE7F24-21ED-008E-1C6F-190972BC790D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30497F32-F998-94B6-AC64-080831882B0F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</a:t>
            </a:fld>
            <a:endParaRPr lang="es-es" noProof="0" dirty="0"/>
          </a:p>
        </p:txBody>
      </p:sp>
      <p:pic>
        <p:nvPicPr>
          <p:cNvPr id="12" name="Segnaposto immagine 21">
            <a:extLst>
              <a:ext uri="{FF2B5EF4-FFF2-40B4-BE49-F238E27FC236}">
                <a16:creationId xmlns:a16="http://schemas.microsoft.com/office/drawing/2014/main" id="{4612359D-7788-8FCE-98F1-B9471621C2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388" t="-21231" r="-12814" b="-4882"/>
          <a:stretch>
            <a:fillRect/>
          </a:stretch>
        </p:blipFill>
        <p:spPr>
          <a:xfrm>
            <a:off x="8148638" y="0"/>
            <a:ext cx="4043361" cy="6273800"/>
          </a:xfrm>
          <a:prstGeom prst="rect">
            <a:avLst/>
          </a:prstGeom>
          <a:solidFill>
            <a:srgbClr val="F0F1F3"/>
          </a:solidFill>
        </p:spPr>
      </p:pic>
    </p:spTree>
    <p:extLst>
      <p:ext uri="{BB962C8B-B14F-4D97-AF65-F5344CB8AC3E}">
        <p14:creationId xmlns:p14="http://schemas.microsoft.com/office/powerpoint/2010/main" val="3941675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F9CBB6-20F2-CD36-DF3B-2D81DD9B23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EA6C00A-03B0-B635-FB36-701E0543010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54500" y="0"/>
            <a:ext cx="7932387" cy="628421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997E38D2-81CA-D11D-A8AD-89481B8786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es-es" b="0" i="0" u="none" baseline="0"/>
              <a:t>Sin niebla de aceite, sin concesiones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C783542C-6C44-48BC-4D5C-1AFF682507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s-es" b="1" i="0" u="none" baseline="0"/>
              <a:t>OIL230</a:t>
            </a:r>
            <a:endParaRPr lang="es-e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C29823-9496-FDAA-79AE-DFCE16CE263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CFE707-04BF-9E48-A2B8-595FA76D64B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0</a:t>
            </a:fld>
            <a:endParaRPr lang="es-es" noProof="0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38F544CA-79C1-79CA-FAD9-8431CF939326}"/>
              </a:ext>
            </a:extLst>
          </p:cNvPr>
          <p:cNvSpPr txBox="1"/>
          <p:nvPr/>
        </p:nvSpPr>
        <p:spPr>
          <a:xfrm>
            <a:off x="482599" y="3119897"/>
            <a:ext cx="3225105" cy="1623778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s-es" sz="1400" b="0" i="0" u="none" baseline="0" dirty="0"/>
              <a:t>El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iltro oleofóbico </a:t>
            </a:r>
            <a:r>
              <a:rPr lang="es-es" sz="1400" b="0" i="0" u="none" baseline="0" dirty="0"/>
              <a:t>captura y bloquea la neblina de aceite antes de que se libere al aire. Esto evita emisiones nocivas, reduce la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ontaminación</a:t>
            </a:r>
            <a:r>
              <a:rPr lang="es-es" sz="1400" b="0" i="0" u="none" baseline="0" dirty="0"/>
              <a:t> del taller y garantiza un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ntorno</a:t>
            </a:r>
            <a:r>
              <a:rPr lang="es-es" sz="1400" b="0" i="0" u="none" baseline="0" dirty="0"/>
              <a:t> más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impio</a:t>
            </a:r>
            <a:r>
              <a:rPr lang="es-es" sz="1400" b="0" i="0" u="none" baseline="0" dirty="0"/>
              <a:t>,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aludable </a:t>
            </a:r>
            <a:r>
              <a:rPr lang="es-es" sz="1400" b="0" i="0" u="none" baseline="0" dirty="0"/>
              <a:t>y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guro</a:t>
            </a:r>
            <a:r>
              <a:rPr lang="es-es" sz="1400" b="0" i="0" u="none" baseline="0" dirty="0"/>
              <a:t> para los operarios.</a:t>
            </a: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6235BA4E-A279-5910-C9FC-AC2C10F5292C}"/>
              </a:ext>
            </a:extLst>
          </p:cNvPr>
          <p:cNvCxnSpPr>
            <a:cxnSpLocks/>
          </p:cNvCxnSpPr>
          <p:nvPr/>
        </p:nvCxnSpPr>
        <p:spPr>
          <a:xfrm>
            <a:off x="482600" y="4748583"/>
            <a:ext cx="6235700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155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8868A1-2DEC-4A3C-81AD-0BA1DBBC9D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">
            <a:extLst>
              <a:ext uri="{FF2B5EF4-FFF2-40B4-BE49-F238E27FC236}">
                <a16:creationId xmlns:a16="http://schemas.microsoft.com/office/drawing/2014/main" id="{14F2A886-F78E-1CA0-4290-E5ED08DCA05B}"/>
              </a:ext>
            </a:extLst>
          </p:cNvPr>
          <p:cNvSpPr/>
          <p:nvPr/>
        </p:nvSpPr>
        <p:spPr>
          <a:xfrm>
            <a:off x="4252913" y="0"/>
            <a:ext cx="7939087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rgbClr val="F0F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sz="2000" noProof="0" dirty="0">
              <a:solidFill>
                <a:schemeClr val="tx1"/>
              </a:solidFill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64323617-BF7D-F57F-26ED-1776895CA0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5211" r="-22542"/>
          <a:stretch>
            <a:fillRect/>
          </a:stretch>
        </p:blipFill>
        <p:spPr>
          <a:xfrm>
            <a:off x="4254501" y="0"/>
            <a:ext cx="7937500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AD127362-7A8A-0849-C102-2CE3441012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es-es" b="0" i="0" u="none" baseline="0"/>
              <a:t>Sellado para evitar goteos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62870533-F959-3B64-1508-A0ED2A24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s-es" b="1" i="0" u="none" baseline="0"/>
              <a:t>OIL230</a:t>
            </a:r>
            <a:endParaRPr lang="es-e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065305-28C9-74DB-CCBD-75CC5F898F3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77C44C-2520-3019-7891-03CED862660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1</a:t>
            </a:fld>
            <a:endParaRPr lang="es-es" noProof="0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808CDBC-CB73-C285-99A0-65E841589675}"/>
              </a:ext>
            </a:extLst>
          </p:cNvPr>
          <p:cNvSpPr txBox="1"/>
          <p:nvPr/>
        </p:nvSpPr>
        <p:spPr>
          <a:xfrm>
            <a:off x="482600" y="1412875"/>
            <a:ext cx="3556000" cy="3585340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  <a:spcAft>
                <a:spcPts val="800"/>
              </a:spcAft>
            </a:pPr>
            <a:r>
              <a:rPr lang="es-es" sz="1400" b="0" i="0" u="none" baseline="0" dirty="0"/>
              <a:t>El OIL230 está diseñado para evitar fugas </a:t>
            </a:r>
            <a:br>
              <a:rPr lang="es-es" sz="1400" dirty="0"/>
            </a:br>
            <a:r>
              <a:rPr lang="es-es" sz="1400" b="0" i="0" u="none" baseline="0" dirty="0"/>
              <a:t>y goteos en todos los puntos:</a:t>
            </a:r>
            <a:endParaRPr lang="es-es" sz="1400" noProof="0" dirty="0"/>
          </a:p>
          <a:p>
            <a:pPr marL="402336" algn="l" rtl="0">
              <a:lnSpc>
                <a:spcPct val="120000"/>
              </a:lnSpc>
              <a:spcAft>
                <a:spcPts val="800"/>
              </a:spcAft>
            </a:pP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oportes de manguera orientados hacia arriba </a:t>
            </a:r>
            <a:r>
              <a:rPr lang="es-es" sz="1400" b="0" i="0" u="none" baseline="0" dirty="0"/>
              <a:t>para evitar fugas de líquido.</a:t>
            </a:r>
            <a:endParaRPr lang="es-es" sz="1400" noProof="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402336" algn="l" rtl="0">
              <a:lnSpc>
                <a:spcPct val="120000"/>
              </a:lnSpc>
              <a:spcAft>
                <a:spcPts val="800"/>
              </a:spcAft>
            </a:pP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ntrada de junta tórica doble que </a:t>
            </a:r>
            <a:r>
              <a:rPr lang="es-es" sz="1400" b="0" i="0" u="none" baseline="0" dirty="0"/>
              <a:t>garantiza un sellado hermético.</a:t>
            </a:r>
            <a:endParaRPr lang="es-es" sz="1400" noProof="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402336" algn="l" rtl="0">
              <a:lnSpc>
                <a:spcPct val="120000"/>
              </a:lnSpc>
              <a:spcAft>
                <a:spcPts val="800"/>
              </a:spcAft>
            </a:pP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esta de accesorios con contención de derrames </a:t>
            </a:r>
            <a:r>
              <a:rPr lang="es-es" sz="1400" b="0" i="0" u="none" baseline="0" dirty="0"/>
              <a:t>para un almacenamiento seguro.</a:t>
            </a:r>
          </a:p>
          <a:p>
            <a:pPr marL="402336" algn="l" rtl="0">
              <a:lnSpc>
                <a:spcPct val="120000"/>
              </a:lnSpc>
              <a:spcAft>
                <a:spcPts val="800"/>
              </a:spcAft>
            </a:pP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Bandeja de goteo integrada que </a:t>
            </a:r>
            <a:r>
              <a:rPr lang="es-es" sz="1400" b="0" i="0" u="none" baseline="0" dirty="0"/>
              <a:t>mantiene la limpieza de la máquina y el suelo.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421039B6-2378-1CD8-3CBE-E2D5C79D8A30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2123571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sz="1200" b="0" i="0" u="none" baseline="0" dirty="0"/>
              <a:t>1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11AEFC62-712D-0898-8238-B8515772C643}"/>
              </a:ext>
            </a:extLst>
          </p:cNvPr>
          <p:cNvSpPr txBox="1">
            <a:spLocks noChangeAspect="1"/>
          </p:cNvSpPr>
          <p:nvPr/>
        </p:nvSpPr>
        <p:spPr>
          <a:xfrm>
            <a:off x="7518284" y="2529346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sz="1200" b="0" i="0" u="none" baseline="0"/>
              <a:t>2</a:t>
            </a:r>
            <a:endParaRPr lang="es-es" sz="1200" b="0" noProof="0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A5564A9B-BB40-2E93-39AC-64CE4B4FCB8B}"/>
              </a:ext>
            </a:extLst>
          </p:cNvPr>
          <p:cNvSpPr txBox="1">
            <a:spLocks noChangeAspect="1"/>
          </p:cNvSpPr>
          <p:nvPr/>
        </p:nvSpPr>
        <p:spPr>
          <a:xfrm>
            <a:off x="6975359" y="3615196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sz="1200" b="0" i="0" u="none" baseline="0"/>
              <a:t>3</a:t>
            </a:r>
            <a:endParaRPr lang="es-es" sz="1200" b="0" noProof="0" dirty="0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97E87AD5-4C9D-BC6D-4A33-774E414728AE}"/>
              </a:ext>
            </a:extLst>
          </p:cNvPr>
          <p:cNvSpPr txBox="1">
            <a:spLocks noChangeAspect="1"/>
          </p:cNvSpPr>
          <p:nvPr/>
        </p:nvSpPr>
        <p:spPr>
          <a:xfrm>
            <a:off x="8508884" y="4777246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sz="1200" b="0" i="0" u="none" baseline="0"/>
              <a:t>4</a:t>
            </a:r>
            <a:endParaRPr lang="es-es" sz="1200" b="0" noProof="0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6FEC1951-782A-A2C2-99C1-709EA2FE64CE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2708523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sz="1200" b="0" i="0" u="none" baseline="0" dirty="0"/>
              <a:t>2</a:t>
            </a:r>
            <a:endParaRPr lang="es-es" sz="1200" b="0" noProof="0" dirty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3F130816-DDF3-0664-19D3-A7AAD3E3E1E8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3350903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sz="1200" b="0" i="0" u="none" baseline="0" dirty="0"/>
              <a:t>3</a:t>
            </a:r>
            <a:endParaRPr lang="es-es" sz="1200" b="0" noProof="0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9A044A97-D450-1265-8748-C6C13CA223A6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4189729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sz="1200" b="0" i="0" u="none" baseline="0"/>
              <a:t>4</a:t>
            </a:r>
            <a:endParaRPr lang="es-es" sz="1200" b="0" noProof="0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4AB6EEC8-8472-F648-D135-59A4F667AEAB}"/>
              </a:ext>
            </a:extLst>
          </p:cNvPr>
          <p:cNvSpPr txBox="1">
            <a:spLocks noChangeAspect="1"/>
          </p:cNvSpPr>
          <p:nvPr/>
        </p:nvSpPr>
        <p:spPr>
          <a:xfrm>
            <a:off x="6564128" y="954988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sz="1200" b="0" i="0" u="none" baseline="0"/>
              <a:t>1</a:t>
            </a:r>
            <a:endParaRPr lang="es-es" sz="1200" b="0" noProof="0" dirty="0"/>
          </a:p>
        </p:txBody>
      </p:sp>
    </p:spTree>
    <p:extLst>
      <p:ext uri="{BB962C8B-B14F-4D97-AF65-F5344CB8AC3E}">
        <p14:creationId xmlns:p14="http://schemas.microsoft.com/office/powerpoint/2010/main" val="3885885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CFA30-01EE-40B7-F720-511D8D4C92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4A61CD08-B642-A7BB-2EE9-0464EAC36632}"/>
              </a:ext>
            </a:extLst>
          </p:cNvPr>
          <p:cNvSpPr/>
          <p:nvPr/>
        </p:nvSpPr>
        <p:spPr>
          <a:xfrm>
            <a:off x="4254500" y="0"/>
            <a:ext cx="7937500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sz="2000">
              <a:solidFill>
                <a:schemeClr val="tx1"/>
              </a:solidFill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228E4EFC-F7A8-D48F-CD4B-069D7A32731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7153" t="-4187" r="-35175"/>
          <a:stretch>
            <a:fillRect/>
          </a:stretch>
        </p:blipFill>
        <p:spPr>
          <a:xfrm>
            <a:off x="4572000" y="0"/>
            <a:ext cx="7140575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CB32B99-B7FA-F745-33FB-6B80E09BA1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1948" cy="376456"/>
          </a:xfrm>
        </p:spPr>
        <p:txBody>
          <a:bodyPr/>
          <a:lstStyle/>
          <a:p>
            <a:pPr algn="l" rtl="0"/>
            <a:r>
              <a:rPr lang="es-es" b="0" i="0" u="none" baseline="0" dirty="0"/>
              <a:t>Más fuerte. Más seguro. Fabricado para durar</a:t>
            </a:r>
            <a:endParaRPr lang="es-es" noProof="0" dirty="0"/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BB89EE11-7783-4653-A365-372DE6364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s-es" b="1" i="0" u="none" baseline="0"/>
              <a:t>OIL230</a:t>
            </a:r>
            <a:endParaRPr lang="es-e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29704C-A7AD-5CC7-C500-DF8718D0FD9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BFC8D5-3FA9-9ABA-1B83-FC93965BE4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2</a:t>
            </a:fld>
            <a:endParaRPr lang="es-es" noProof="0" dirty="0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76BB61E3-C215-85AD-A344-4D85B66C1ED0}"/>
              </a:ext>
            </a:extLst>
          </p:cNvPr>
          <p:cNvSpPr txBox="1"/>
          <p:nvPr/>
        </p:nvSpPr>
        <p:spPr>
          <a:xfrm>
            <a:off x="482599" y="1541569"/>
            <a:ext cx="3556000" cy="1623778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s-es" sz="1400" b="0" i="0" u="none" baseline="0" dirty="0"/>
              <a:t>La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ámara del filtro </a:t>
            </a:r>
            <a:r>
              <a:rPr lang="es-es" sz="1400" b="0" i="0" u="none" baseline="0" dirty="0"/>
              <a:t>y el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ontenedor</a:t>
            </a:r>
            <a:r>
              <a:rPr lang="es-es" sz="1400" b="0" i="0" u="none" baseline="0" dirty="0"/>
              <a:t> del OIL230 están protegidos por un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cubrimiento</a:t>
            </a:r>
            <a:r>
              <a:rPr lang="es-es" sz="1400" b="0" i="0" u="none" baseline="0" dirty="0"/>
              <a:t> de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lástico</a:t>
            </a:r>
            <a:r>
              <a:rPr lang="es-es" sz="1400" b="0" i="0" u="none" baseline="0" dirty="0"/>
              <a:t>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special</a:t>
            </a:r>
            <a:r>
              <a:rPr lang="es-es" sz="1400" b="0" i="0" u="none" baseline="0" dirty="0"/>
              <a:t> que los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rotege</a:t>
            </a:r>
            <a:r>
              <a:rPr lang="es-es" sz="1400" b="0" i="0" u="none" baseline="0" dirty="0"/>
              <a:t> de las condiciones más adversas.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as virutas</a:t>
            </a:r>
            <a:r>
              <a:rPr lang="es-es" sz="1400" b="0" i="0" u="none" baseline="0" dirty="0"/>
              <a:t> afiladas y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brasivas</a:t>
            </a:r>
            <a:r>
              <a:rPr lang="es-es" sz="1400" b="0" i="0" u="none" baseline="0" dirty="0"/>
              <a:t> ya no dañan la superficie, lo que garantiza una mayor resistencia y un funcionamiento más seguro.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10E93AAA-2566-5E0A-21A7-2361B077ECCB}"/>
              </a:ext>
            </a:extLst>
          </p:cNvPr>
          <p:cNvSpPr txBox="1"/>
          <p:nvPr/>
        </p:nvSpPr>
        <p:spPr>
          <a:xfrm>
            <a:off x="479424" y="3583510"/>
            <a:ext cx="3559175" cy="1365246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>
            <a:defPPr>
              <a:defRPr lang="es-es"/>
            </a:defPPr>
            <a:lvl1pPr>
              <a:defRPr sz="1600"/>
            </a:lvl1pPr>
          </a:lstStyle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s-es" sz="1400" b="0" i="0" u="none" baseline="0" dirty="0"/>
              <a:t>Esta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apa</a:t>
            </a:r>
            <a:r>
              <a:rPr lang="es-es" sz="1400" b="0" i="0" u="none" baseline="0" dirty="0"/>
              <a:t>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rotectora</a:t>
            </a:r>
            <a:r>
              <a:rPr lang="es-es" sz="1400" b="0" i="0" u="none" baseline="0" dirty="0"/>
              <a:t> prolonga significativamente la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urabilidad</a:t>
            </a:r>
            <a:r>
              <a:rPr lang="es-es" sz="1400" b="0" i="0" u="none" baseline="0" dirty="0"/>
              <a:t> con el tiempo, reduciendo el desgaste y las necesidades de mantenimiento. El resultado: una máquina más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sistente</a:t>
            </a:r>
            <a:r>
              <a:rPr lang="es-es" sz="1400" b="0" i="0" u="none" baseline="0" dirty="0"/>
              <a:t> que ofrece un rendimiento y una fiabilidad constantes,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ía tras día</a:t>
            </a:r>
            <a:r>
              <a:rPr lang="es-es" sz="1400" b="0" i="0" u="none" baseline="0" dirty="0"/>
              <a:t>.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1C4C250B-9E0A-1E75-30CC-41F23B345E07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9430" y="2104431"/>
            <a:ext cx="7458071" cy="1311966"/>
          </a:xfrm>
          <a:prstGeom prst="bentConnector3">
            <a:avLst>
              <a:gd name="adj1" fmla="val -84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6C6E9EE9-5649-1359-0FE7-A2066EFA7F2E}"/>
              </a:ext>
            </a:extLst>
          </p:cNvPr>
          <p:cNvCxnSpPr>
            <a:cxnSpLocks/>
          </p:cNvCxnSpPr>
          <p:nvPr/>
        </p:nvCxnSpPr>
        <p:spPr>
          <a:xfrm flipH="1">
            <a:off x="479434" y="3830917"/>
            <a:ext cx="7833836" cy="1576476"/>
          </a:xfrm>
          <a:prstGeom prst="bentConnector3">
            <a:avLst>
              <a:gd name="adj1" fmla="val -123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291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18B912-1096-C572-0989-BB5A082532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>
            <a:extLst>
              <a:ext uri="{FF2B5EF4-FFF2-40B4-BE49-F238E27FC236}">
                <a16:creationId xmlns:a16="http://schemas.microsoft.com/office/drawing/2014/main" id="{4146D477-3F67-F981-B70C-F75660B3D8B6}"/>
              </a:ext>
            </a:extLst>
          </p:cNvPr>
          <p:cNvSpPr/>
          <p:nvPr/>
        </p:nvSpPr>
        <p:spPr>
          <a:xfrm>
            <a:off x="4254500" y="0"/>
            <a:ext cx="7937501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sz="2000" noProof="0" dirty="0">
              <a:solidFill>
                <a:schemeClr val="tx1"/>
              </a:solidFill>
            </a:endParaRP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86A48000-A8BD-4EF0-0AFA-8D0E2A2204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es-es" b="0" i="0" u="none" baseline="0"/>
              <a:t>Elevación segura y estable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E9DEE9E3-EC97-7F12-6027-29961EAC1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s-es" b="1" i="0" u="none" baseline="0"/>
              <a:t>OIL230</a:t>
            </a:r>
            <a:endParaRPr lang="es-e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ED6F75-19F6-C901-AE3E-58CC433DCA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B76676-B4F3-89B2-AE64-9D0E7CAA5CB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3</a:t>
            </a:fld>
            <a:endParaRPr lang="es-es" noProof="0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960EA79E-A3FA-6AA5-3AAE-690894D3F68C}"/>
              </a:ext>
            </a:extLst>
          </p:cNvPr>
          <p:cNvSpPr txBox="1"/>
          <p:nvPr/>
        </p:nvSpPr>
        <p:spPr>
          <a:xfrm>
            <a:off x="482601" y="1412875"/>
            <a:ext cx="3556000" cy="2399375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marL="402336" algn="l" rtl="0">
              <a:lnSpc>
                <a:spcPct val="120000"/>
              </a:lnSpc>
              <a:spcAft>
                <a:spcPts val="1200"/>
              </a:spcAft>
            </a:pPr>
            <a:r>
              <a:rPr lang="es-es" sz="1400" b="0" i="0" u="none" baseline="0"/>
              <a:t>Los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ganchos</a:t>
            </a:r>
            <a:r>
              <a:rPr lang="es-es" sz="1400" b="0" i="0" u="none" baseline="0"/>
              <a:t> de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levación</a:t>
            </a:r>
            <a:r>
              <a:rPr lang="es-es" sz="1400" b="0" i="0" u="none" baseline="0"/>
              <a:t>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integrados</a:t>
            </a:r>
            <a:r>
              <a:rPr lang="es-es" sz="1400" b="0" i="0" u="none" baseline="0"/>
              <a:t> hacen que sea fácil mover la máquina por la fábrica o elevarla a grandes centros CNC, donde introducir la unidad es más fácil que extender las mangueras.</a:t>
            </a:r>
            <a:br>
              <a:rPr lang="es-es" sz="1400"/>
            </a:br>
            <a:br>
              <a:rPr lang="es-es" sz="1400"/>
            </a:br>
            <a:r>
              <a:rPr lang="es-es" sz="1400" b="0" i="0" u="none" baseline="0"/>
              <a:t>Los ganchos están integrados en el bastidor del soporte de las mangueras, lo que garantiza una elevación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erfectamente equilibrada</a:t>
            </a:r>
            <a:r>
              <a:rPr lang="es-es" sz="1400" b="0" i="0" u="none" baseline="0"/>
              <a:t> y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stable</a:t>
            </a:r>
            <a:r>
              <a:rPr lang="es-es" sz="1400" b="0" i="0" u="none" baseline="0"/>
              <a:t> en todo momento.</a:t>
            </a:r>
            <a:endParaRPr lang="es-es" sz="1400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B621308-87A8-E701-4EFB-2A8FD05156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5001" b="-3028"/>
          <a:stretch>
            <a:fillRect/>
          </a:stretch>
        </p:blipFill>
        <p:spPr>
          <a:xfrm>
            <a:off x="4903470" y="482600"/>
            <a:ext cx="3371850" cy="57912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3210BC0-A55F-07BB-6462-6ED0CA43C30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356" t="-13914" r="-4369" b="-2363"/>
          <a:stretch>
            <a:fillRect/>
          </a:stretch>
        </p:blipFill>
        <p:spPr>
          <a:xfrm>
            <a:off x="7840343" y="476250"/>
            <a:ext cx="3483613" cy="5797550"/>
          </a:xfrm>
          <a:prstGeom prst="rect">
            <a:avLst/>
          </a:prstGeom>
        </p:spPr>
      </p:pic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00C66D2A-C0AE-401A-DFB6-73EDDA967710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1412875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sz="1200" b="0" i="0" u="none" baseline="0"/>
              <a:t>1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39CB7411-CA45-C735-F8FF-A8A1CD869383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2958524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sz="1200" b="0" i="0" u="none" baseline="0"/>
              <a:t>2</a:t>
            </a:r>
            <a:endParaRPr lang="es-es" sz="1200" b="0" noProof="0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377B6058-0FDE-1DE1-62D3-DC359CE6296A}"/>
              </a:ext>
            </a:extLst>
          </p:cNvPr>
          <p:cNvSpPr txBox="1">
            <a:spLocks noChangeAspect="1"/>
          </p:cNvSpPr>
          <p:nvPr/>
        </p:nvSpPr>
        <p:spPr>
          <a:xfrm>
            <a:off x="6959606" y="2332062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sz="1200" b="0" i="0" u="none" baseline="0"/>
              <a:t>1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3B796BD8-32D1-5B2B-4438-602639313B27}"/>
              </a:ext>
            </a:extLst>
          </p:cNvPr>
          <p:cNvSpPr txBox="1">
            <a:spLocks noChangeAspect="1"/>
          </p:cNvSpPr>
          <p:nvPr/>
        </p:nvSpPr>
        <p:spPr>
          <a:xfrm>
            <a:off x="10241970" y="1859604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sz="1200" b="0" i="0" u="none" baseline="0"/>
              <a:t>2</a:t>
            </a:r>
            <a:endParaRPr lang="es-es" sz="1200" b="0" noProof="0" dirty="0"/>
          </a:p>
        </p:txBody>
      </p:sp>
    </p:spTree>
    <p:extLst>
      <p:ext uri="{BB962C8B-B14F-4D97-AF65-F5344CB8AC3E}">
        <p14:creationId xmlns:p14="http://schemas.microsoft.com/office/powerpoint/2010/main" val="3717579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6D3791-99E0-98AA-93DF-D823E662D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3894DB6C-484F-02F2-79F1-383B72BF6C20}"/>
              </a:ext>
            </a:extLst>
          </p:cNvPr>
          <p:cNvSpPr/>
          <p:nvPr/>
        </p:nvSpPr>
        <p:spPr>
          <a:xfrm>
            <a:off x="4254500" y="0"/>
            <a:ext cx="7937501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sz="2000" noProof="0" dirty="0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F0C0DD-FBA6-9EC2-FD4D-492A78AF94D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5001" b="-3028"/>
          <a:stretch>
            <a:fillRect/>
          </a:stretch>
        </p:blipFill>
        <p:spPr>
          <a:xfrm>
            <a:off x="4903470" y="482600"/>
            <a:ext cx="3371850" cy="5791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7537F2C-B266-00C3-E391-C0A10302E4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183" r="-10252" b="-1957"/>
          <a:stretch>
            <a:fillRect/>
          </a:stretch>
        </p:blipFill>
        <p:spPr>
          <a:xfrm>
            <a:off x="8148638" y="429435"/>
            <a:ext cx="3371850" cy="57912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CB870C80-9915-8F10-E61C-991A8C570F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es-es" b="0" i="0" u="none" baseline="0"/>
              <a:t>Compacto y fácil de trasladar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513D3ED2-7995-1134-464E-85D2B4375F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s-es" b="1" i="0" u="none" baseline="0"/>
              <a:t>OIL230</a:t>
            </a:r>
            <a:endParaRPr lang="es-e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BA861D-80D4-11D3-6D94-63161C688FF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E9D22B-A58D-A802-C66E-0E69AB19E4E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4</a:t>
            </a:fld>
            <a:endParaRPr lang="es-es" noProof="0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E0C2303B-E529-29B9-B09A-6378EE9D1C9A}"/>
              </a:ext>
            </a:extLst>
          </p:cNvPr>
          <p:cNvSpPr txBox="1"/>
          <p:nvPr/>
        </p:nvSpPr>
        <p:spPr>
          <a:xfrm>
            <a:off x="482600" y="1412875"/>
            <a:ext cx="3556000" cy="2604559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lvl="0"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es-es" sz="1400" b="0" i="0" u="none" baseline="0"/>
              <a:t>Para los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ontratistas</a:t>
            </a:r>
            <a:r>
              <a:rPr lang="es-es" sz="1400" b="0" i="0" u="none" baseline="0"/>
              <a:t> de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impieza</a:t>
            </a:r>
            <a:r>
              <a:rPr lang="es-es" sz="1400" b="0" i="0" u="none" baseline="0"/>
              <a:t>, la altura de 1,4 m facilita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a carga</a:t>
            </a:r>
            <a:r>
              <a:rPr lang="es-es" sz="1400" b="0" i="0" u="none" baseline="0"/>
              <a:t>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n</a:t>
            </a:r>
            <a:r>
              <a:rPr lang="es-es" sz="1400" b="0" i="0" u="none" baseline="0"/>
              <a:t>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urgonetas</a:t>
            </a:r>
            <a:r>
              <a:rPr lang="es-es" sz="1400" b="0" i="0" u="none" baseline="0"/>
              <a:t>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stándar</a:t>
            </a:r>
            <a:r>
              <a:rPr lang="es-es" sz="1400" b="0" i="0" u="none" baseline="0"/>
              <a:t> y el desplazamiento entre diferentes lugares sin necesidad de vehículos especiales.</a:t>
            </a:r>
            <a:endParaRPr kumimoji="0" lang="es-e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es-es" sz="1400" b="0" i="0" u="none" baseline="0"/>
              <a:t>En las plantas de metalurgia, los operarios se benefician de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una</a:t>
            </a:r>
            <a:r>
              <a:rPr lang="es-es" sz="1400" b="0" i="0" u="none" baseline="0"/>
              <a:t>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aniobrabilidad</a:t>
            </a:r>
            <a:r>
              <a:rPr lang="es-es" sz="1400" b="0" i="0" u="none" baseline="0"/>
              <a:t> fluida, lo que hace que el transporte diario sea rápido y sin esfuerzo.</a:t>
            </a:r>
          </a:p>
          <a:p>
            <a:pPr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es-es" sz="1400" b="0" i="0" u="none" baseline="0"/>
              <a:t>Su tamaño compacto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 adapta</a:t>
            </a:r>
            <a:r>
              <a:rPr lang="es-es" sz="1400" b="0" i="0" u="none" baseline="0"/>
              <a:t>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ácilmente</a:t>
            </a:r>
            <a:r>
              <a:rPr lang="es-es" sz="1400" b="0" i="0" u="none" baseline="0"/>
              <a:t> a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spacios</a:t>
            </a:r>
            <a:r>
              <a:rPr lang="es-es" sz="1400" b="0" i="0" u="none" baseline="0"/>
              <a:t>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ducidos</a:t>
            </a:r>
            <a:r>
              <a:rPr lang="es-es" sz="1400" b="0" i="0" u="none" baseline="0"/>
              <a:t>, ya sea en uso o simplemente aparcado, sin bloquear el espacio de trabajo.</a:t>
            </a:r>
          </a:p>
        </p:txBody>
      </p:sp>
      <p:cxnSp>
        <p:nvCxnSpPr>
          <p:cNvPr id="236" name="Connettore diritto 9">
            <a:extLst>
              <a:ext uri="{FF2B5EF4-FFF2-40B4-BE49-F238E27FC236}">
                <a16:creationId xmlns:a16="http://schemas.microsoft.com/office/drawing/2014/main" id="{6C810AB3-DC5B-F3E3-0BA8-233C3B7D5BD7}"/>
              </a:ext>
            </a:extLst>
          </p:cNvPr>
          <p:cNvCxnSpPr>
            <a:cxnSpLocks/>
          </p:cNvCxnSpPr>
          <p:nvPr/>
        </p:nvCxnSpPr>
        <p:spPr>
          <a:xfrm>
            <a:off x="7499741" y="5593683"/>
            <a:ext cx="112283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E5553CC-791C-B81C-D3DA-B7360356B971}"/>
              </a:ext>
            </a:extLst>
          </p:cNvPr>
          <p:cNvCxnSpPr>
            <a:cxnSpLocks/>
          </p:cNvCxnSpPr>
          <p:nvPr/>
        </p:nvCxnSpPr>
        <p:spPr>
          <a:xfrm flipV="1">
            <a:off x="8061156" y="1421027"/>
            <a:ext cx="0" cy="4171699"/>
          </a:xfrm>
          <a:prstGeom prst="straightConnector1">
            <a:avLst/>
          </a:prstGeom>
          <a:ln w="12700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CasellaDiTesto 14">
            <a:extLst>
              <a:ext uri="{FF2B5EF4-FFF2-40B4-BE49-F238E27FC236}">
                <a16:creationId xmlns:a16="http://schemas.microsoft.com/office/drawing/2014/main" id="{496C3E79-8157-D88A-AD94-E3797F5F71BD}"/>
              </a:ext>
            </a:extLst>
          </p:cNvPr>
          <p:cNvSpPr txBox="1"/>
          <p:nvPr/>
        </p:nvSpPr>
        <p:spPr>
          <a:xfrm>
            <a:off x="7712596" y="3839678"/>
            <a:ext cx="720567" cy="33855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0" rIns="0">
            <a:spAutoFit/>
          </a:bodyPr>
          <a:lstStyle/>
          <a:p>
            <a:pPr algn="ctr" rtl="0"/>
            <a:r>
              <a:rPr lang="es-es" sz="1600" b="0" i="0" u="none" baseline="0">
                <a:latin typeface="+mj-lt"/>
                <a:ea typeface="+mj-lt"/>
                <a:cs typeface="+mj-lt"/>
              </a:rPr>
              <a:t>1,4 m</a:t>
            </a:r>
          </a:p>
        </p:txBody>
      </p:sp>
      <p:cxnSp>
        <p:nvCxnSpPr>
          <p:cNvPr id="242" name="Connettore diritto 9">
            <a:extLst>
              <a:ext uri="{FF2B5EF4-FFF2-40B4-BE49-F238E27FC236}">
                <a16:creationId xmlns:a16="http://schemas.microsoft.com/office/drawing/2014/main" id="{32CEC093-58F2-ED58-7A89-F537A274247C}"/>
              </a:ext>
            </a:extLst>
          </p:cNvPr>
          <p:cNvCxnSpPr>
            <a:cxnSpLocks/>
          </p:cNvCxnSpPr>
          <p:nvPr/>
        </p:nvCxnSpPr>
        <p:spPr>
          <a:xfrm>
            <a:off x="6870030" y="1418725"/>
            <a:ext cx="238225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029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D8B824-9463-E759-9BA2-11E6009DFB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6">
            <a:extLst>
              <a:ext uri="{FF2B5EF4-FFF2-40B4-BE49-F238E27FC236}">
                <a16:creationId xmlns:a16="http://schemas.microsoft.com/office/drawing/2014/main" id="{48D6497B-78AA-7F29-F8FE-2BFE2495AF8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66" b="-3120"/>
          <a:stretch>
            <a:fillRect/>
          </a:stretch>
        </p:blipFill>
        <p:spPr>
          <a:xfrm>
            <a:off x="4208060" y="1219199"/>
            <a:ext cx="3684586" cy="5638801"/>
          </a:xfrm>
          <a:prstGeom prst="rect">
            <a:avLst/>
          </a:prstGeom>
        </p:spPr>
      </p:pic>
      <p:graphicFrame>
        <p:nvGraphicFramePr>
          <p:cNvPr id="3" name="think-cell data - do not delete">
            <a:extLst>
              <a:ext uri="{FF2B5EF4-FFF2-40B4-BE49-F238E27FC236}">
                <a16:creationId xmlns:a16="http://schemas.microsoft.com/office/drawing/2014/main" id="{A825C338-FA06-DBAC-F687-EF32AD7435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2985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87" imgH="288" progId="TCLayout.ActiveDocument.1">
                  <p:embed/>
                </p:oleObj>
              </mc:Choice>
              <mc:Fallback>
                <p:oleObj name="Diapositiva think-cell" r:id="rId5" imgW="287" imgH="288" progId="TCLayout.ActiveDocument.1">
                  <p:embed/>
                  <p:pic>
                    <p:nvPicPr>
                      <p:cNvPr id="3" name="think-cell data - do not delete">
                        <a:extLst>
                          <a:ext uri="{FF2B5EF4-FFF2-40B4-BE49-F238E27FC236}">
                            <a16:creationId xmlns:a16="http://schemas.microsoft.com/office/drawing/2014/main" id="{A825C338-FA06-DBAC-F687-EF32AD743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ABD7D24-C25D-FB3F-2207-EF09A6D41B1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6048774" cy="153888"/>
          </a:xfrm>
        </p:spPr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DFB3BB2-A2D9-5E67-1FDE-305874D722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5</a:t>
            </a:fld>
            <a:endParaRPr lang="es-es" noProof="0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1AAA87C-0486-611E-5B65-A2C933A23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/>
              <a:t>OIL230: Resumen de las principales características</a:t>
            </a:r>
          </a:p>
        </p:txBody>
      </p:sp>
      <p:sp>
        <p:nvSpPr>
          <p:cNvPr id="105" name="TextBox 21">
            <a:extLst>
              <a:ext uri="{FF2B5EF4-FFF2-40B4-BE49-F238E27FC236}">
                <a16:creationId xmlns:a16="http://schemas.microsoft.com/office/drawing/2014/main" id="{F25159A0-8D8A-318F-A99C-BF87C68D53B9}"/>
              </a:ext>
            </a:extLst>
          </p:cNvPr>
          <p:cNvSpPr txBox="1"/>
          <p:nvPr/>
        </p:nvSpPr>
        <p:spPr>
          <a:xfrm>
            <a:off x="482599" y="4254392"/>
            <a:ext cx="3937001" cy="788498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>
              <a:spcAft>
                <a:spcPts val="400"/>
              </a:spcAft>
            </a:pPr>
            <a:r>
              <a:rPr lang="es-es" sz="1400" b="1" i="0" u="none" baseline="0" dirty="0">
                <a:latin typeface="+mj-lt"/>
                <a:ea typeface="+mj-lt"/>
                <a:cs typeface="+mj-lt"/>
              </a:rPr>
              <a:t>Cesta de virutas extraíble a la altura de la cinta</a:t>
            </a:r>
          </a:p>
          <a:p>
            <a:pPr algn="l" rtl="0">
              <a:spcAft>
                <a:spcPts val="400"/>
              </a:spcAft>
            </a:pPr>
            <a:r>
              <a:rPr lang="es-es" sz="1400" b="0" i="0" u="none" baseline="0" dirty="0"/>
              <a:t>Permite una separación sencilla de virutas y líquido con acceso ergonómico</a:t>
            </a:r>
          </a:p>
        </p:txBody>
      </p:sp>
      <p:sp>
        <p:nvSpPr>
          <p:cNvPr id="51" name="TextBox 21">
            <a:extLst>
              <a:ext uri="{FF2B5EF4-FFF2-40B4-BE49-F238E27FC236}">
                <a16:creationId xmlns:a16="http://schemas.microsoft.com/office/drawing/2014/main" id="{03E7E55B-51AA-968C-83E1-18529751D0B5}"/>
              </a:ext>
            </a:extLst>
          </p:cNvPr>
          <p:cNvSpPr txBox="1"/>
          <p:nvPr/>
        </p:nvSpPr>
        <p:spPr>
          <a:xfrm>
            <a:off x="7772400" y="1316807"/>
            <a:ext cx="3948722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es-es" sz="1400" b="1" i="0" u="none" baseline="0" dirty="0">
                <a:latin typeface="+mj-lt"/>
                <a:ea typeface="+mj-lt"/>
                <a:cs typeface="+mj-lt"/>
              </a:rPr>
              <a:t>Tamaño compacto y alto rendimiento</a:t>
            </a:r>
          </a:p>
          <a:p>
            <a:pPr algn="r" rtl="0">
              <a:spcAft>
                <a:spcPts val="400"/>
              </a:spcAft>
            </a:pPr>
            <a:r>
              <a:rPr lang="es-es" sz="1400" b="0" i="0" u="none" baseline="0" dirty="0"/>
              <a:t>Fácil de cargar, transportar y almacenar en furgonetas estándar, sin comprometer el rendimiento.</a:t>
            </a:r>
          </a:p>
        </p:txBody>
      </p:sp>
      <p:cxnSp>
        <p:nvCxnSpPr>
          <p:cNvPr id="37" name="Straight Connector 32">
            <a:extLst>
              <a:ext uri="{FF2B5EF4-FFF2-40B4-BE49-F238E27FC236}">
                <a16:creationId xmlns:a16="http://schemas.microsoft.com/office/drawing/2014/main" id="{EB90AB99-B98D-AFF3-44E3-31567D8E2E62}"/>
              </a:ext>
            </a:extLst>
          </p:cNvPr>
          <p:cNvCxnSpPr>
            <a:cxnSpLocks/>
          </p:cNvCxnSpPr>
          <p:nvPr/>
        </p:nvCxnSpPr>
        <p:spPr>
          <a:xfrm flipH="1">
            <a:off x="6705600" y="2209249"/>
            <a:ext cx="5006974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4" name="TextBox 21">
            <a:extLst>
              <a:ext uri="{FF2B5EF4-FFF2-40B4-BE49-F238E27FC236}">
                <a16:creationId xmlns:a16="http://schemas.microsoft.com/office/drawing/2014/main" id="{54C7F875-AE41-8824-45BD-77536CA6CEBF}"/>
              </a:ext>
            </a:extLst>
          </p:cNvPr>
          <p:cNvSpPr txBox="1"/>
          <p:nvPr/>
        </p:nvSpPr>
        <p:spPr>
          <a:xfrm>
            <a:off x="482600" y="1295355"/>
            <a:ext cx="3725460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>
              <a:spcAft>
                <a:spcPts val="400"/>
              </a:spcAft>
            </a:pPr>
            <a:r>
              <a:rPr lang="es-es" sz="1400" b="1" i="0" u="none" baseline="0" dirty="0">
                <a:latin typeface="+mj-lt"/>
                <a:ea typeface="+mj-lt"/>
                <a:cs typeface="+mj-lt"/>
              </a:rPr>
              <a:t>Interruptor único para bomba y aspiración</a:t>
            </a:r>
          </a:p>
          <a:p>
            <a:pPr algn="l" rtl="0">
              <a:spcAft>
                <a:spcPts val="400"/>
              </a:spcAft>
            </a:pPr>
            <a:r>
              <a:rPr lang="es-es" sz="1400" b="0" i="0" u="none" baseline="0" dirty="0"/>
              <a:t>Funcionamiento más rápido y sencillo con un solo control</a:t>
            </a:r>
          </a:p>
        </p:txBody>
      </p:sp>
      <p:cxnSp>
        <p:nvCxnSpPr>
          <p:cNvPr id="39" name="Straight Connector 32">
            <a:extLst>
              <a:ext uri="{FF2B5EF4-FFF2-40B4-BE49-F238E27FC236}">
                <a16:creationId xmlns:a16="http://schemas.microsoft.com/office/drawing/2014/main" id="{F6E84245-2139-2B2F-6AED-18AB44AC27F8}"/>
              </a:ext>
            </a:extLst>
          </p:cNvPr>
          <p:cNvCxnSpPr>
            <a:cxnSpLocks/>
          </p:cNvCxnSpPr>
          <p:nvPr/>
        </p:nvCxnSpPr>
        <p:spPr>
          <a:xfrm>
            <a:off x="482600" y="2999097"/>
            <a:ext cx="4532745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6" name="TextBox 21">
            <a:extLst>
              <a:ext uri="{FF2B5EF4-FFF2-40B4-BE49-F238E27FC236}">
                <a16:creationId xmlns:a16="http://schemas.microsoft.com/office/drawing/2014/main" id="{BFF911D5-FEA3-586C-E633-2AF3BB675D2E}"/>
              </a:ext>
            </a:extLst>
          </p:cNvPr>
          <p:cNvSpPr txBox="1"/>
          <p:nvPr/>
        </p:nvSpPr>
        <p:spPr>
          <a:xfrm>
            <a:off x="482599" y="2109529"/>
            <a:ext cx="3725461" cy="1003949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>
              <a:spcAft>
                <a:spcPts val="400"/>
              </a:spcAft>
            </a:pPr>
            <a:r>
              <a:rPr lang="es-es" sz="1400" b="1" i="0" u="none" baseline="0" dirty="0">
                <a:latin typeface="+mj-lt"/>
                <a:ea typeface="+mj-lt"/>
                <a:cs typeface="+mj-lt"/>
              </a:rPr>
              <a:t>Pistola de descarga y soporte de manguera integrados</a:t>
            </a:r>
          </a:p>
          <a:p>
            <a:pPr algn="l" rtl="0">
              <a:spcAft>
                <a:spcPts val="400"/>
              </a:spcAft>
            </a:pPr>
            <a:r>
              <a:rPr lang="es-es" sz="1400" b="0" i="0" u="none" baseline="0" dirty="0"/>
              <a:t>Evita caídas y lo mantiene todo ordenado durante el transporte</a:t>
            </a:r>
          </a:p>
        </p:txBody>
      </p:sp>
      <p:cxnSp>
        <p:nvCxnSpPr>
          <p:cNvPr id="57" name="Straight Connector 32">
            <a:extLst>
              <a:ext uri="{FF2B5EF4-FFF2-40B4-BE49-F238E27FC236}">
                <a16:creationId xmlns:a16="http://schemas.microsoft.com/office/drawing/2014/main" id="{39766602-4895-94F1-3CCB-5FC8DFE41660}"/>
              </a:ext>
            </a:extLst>
          </p:cNvPr>
          <p:cNvCxnSpPr>
            <a:cxnSpLocks/>
          </p:cNvCxnSpPr>
          <p:nvPr/>
        </p:nvCxnSpPr>
        <p:spPr>
          <a:xfrm>
            <a:off x="482600" y="6056982"/>
            <a:ext cx="4361249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TextBox 21">
            <a:extLst>
              <a:ext uri="{FF2B5EF4-FFF2-40B4-BE49-F238E27FC236}">
                <a16:creationId xmlns:a16="http://schemas.microsoft.com/office/drawing/2014/main" id="{83F677E5-B07B-E726-2F75-2075A632C920}"/>
              </a:ext>
            </a:extLst>
          </p:cNvPr>
          <p:cNvSpPr txBox="1"/>
          <p:nvPr/>
        </p:nvSpPr>
        <p:spPr>
          <a:xfrm>
            <a:off x="482601" y="5275078"/>
            <a:ext cx="3556000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>
              <a:spcAft>
                <a:spcPts val="400"/>
              </a:spcAft>
            </a:pPr>
            <a:r>
              <a:rPr lang="es-es" sz="1400" b="1" i="0" u="none" baseline="0">
                <a:latin typeface="+mj-lt"/>
                <a:ea typeface="+mj-lt"/>
                <a:cs typeface="+mj-lt"/>
              </a:rPr>
              <a:t>Bomba externa debajo del contenedor</a:t>
            </a:r>
          </a:p>
          <a:p>
            <a:pPr algn="l" rtl="0">
              <a:spcAft>
                <a:spcPts val="400"/>
              </a:spcAft>
            </a:pPr>
            <a:r>
              <a:rPr lang="es-es" sz="1400" b="0" i="0" u="none" baseline="0"/>
              <a:t>Mantenimiento más sencillo, configuración más limpia, sin necesidad de cebado</a:t>
            </a:r>
          </a:p>
        </p:txBody>
      </p:sp>
      <p:cxnSp>
        <p:nvCxnSpPr>
          <p:cNvPr id="54" name="Straight Connector 32">
            <a:extLst>
              <a:ext uri="{FF2B5EF4-FFF2-40B4-BE49-F238E27FC236}">
                <a16:creationId xmlns:a16="http://schemas.microsoft.com/office/drawing/2014/main" id="{B91F82C6-33A3-0A10-4944-04905B06E999}"/>
              </a:ext>
            </a:extLst>
          </p:cNvPr>
          <p:cNvCxnSpPr>
            <a:cxnSpLocks/>
          </p:cNvCxnSpPr>
          <p:nvPr/>
        </p:nvCxnSpPr>
        <p:spPr>
          <a:xfrm flipH="1">
            <a:off x="7153275" y="2934350"/>
            <a:ext cx="4556125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2" name="TextBox 21">
            <a:extLst>
              <a:ext uri="{FF2B5EF4-FFF2-40B4-BE49-F238E27FC236}">
                <a16:creationId xmlns:a16="http://schemas.microsoft.com/office/drawing/2014/main" id="{9FB47F77-9531-8003-06F6-AF150B42A387}"/>
              </a:ext>
            </a:extLst>
          </p:cNvPr>
          <p:cNvSpPr txBox="1"/>
          <p:nvPr/>
        </p:nvSpPr>
        <p:spPr>
          <a:xfrm>
            <a:off x="7784122" y="2259415"/>
            <a:ext cx="3937000" cy="573062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es-es" sz="1400" b="1" i="0" u="none" baseline="0" dirty="0">
                <a:latin typeface="+mj-lt"/>
                <a:ea typeface="+mj-lt"/>
                <a:cs typeface="+mj-lt"/>
              </a:rPr>
              <a:t>Soporte del tubo de aspiración</a:t>
            </a:r>
          </a:p>
          <a:p>
            <a:pPr algn="r" rtl="0">
              <a:spcAft>
                <a:spcPts val="400"/>
              </a:spcAft>
            </a:pPr>
            <a:r>
              <a:rPr lang="es-es" sz="1400" b="0" i="0" u="none" baseline="0" dirty="0"/>
              <a:t>Almacenamiento ordenado de la manguera durante el transporte de la máquina</a:t>
            </a:r>
            <a:endParaRPr lang="es-es" sz="1600" noProof="0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02DC476-7548-B4A5-C511-B1303C4A0973}"/>
              </a:ext>
            </a:extLst>
          </p:cNvPr>
          <p:cNvCxnSpPr>
            <a:cxnSpLocks/>
          </p:cNvCxnSpPr>
          <p:nvPr/>
        </p:nvCxnSpPr>
        <p:spPr>
          <a:xfrm flipH="1">
            <a:off x="7223760" y="6243947"/>
            <a:ext cx="4488815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3" name="TextBox 21">
            <a:extLst>
              <a:ext uri="{FF2B5EF4-FFF2-40B4-BE49-F238E27FC236}">
                <a16:creationId xmlns:a16="http://schemas.microsoft.com/office/drawing/2014/main" id="{B3928700-DDEC-37ED-252C-D7A9E15E3BBB}"/>
              </a:ext>
            </a:extLst>
          </p:cNvPr>
          <p:cNvSpPr txBox="1"/>
          <p:nvPr/>
        </p:nvSpPr>
        <p:spPr>
          <a:xfrm>
            <a:off x="7937500" y="5459311"/>
            <a:ext cx="3775076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es-es" sz="1400" b="1" i="0" u="none" baseline="0" dirty="0">
                <a:latin typeface="+mj-lt"/>
                <a:ea typeface="+mj-lt"/>
                <a:cs typeface="+mj-lt"/>
              </a:rPr>
              <a:t>Aspiración y descarga simultáneas</a:t>
            </a:r>
          </a:p>
          <a:p>
            <a:pPr algn="r" rtl="0">
              <a:spcAft>
                <a:spcPts val="400"/>
              </a:spcAft>
            </a:pPr>
            <a:r>
              <a:rPr lang="es-es" sz="1400" b="0" i="0" u="none" baseline="0" dirty="0"/>
              <a:t>Manipulación continua de líquidos sin tiempo de inactividad y parada electrónica integrada para mayor seguridad</a:t>
            </a:r>
          </a:p>
        </p:txBody>
      </p:sp>
      <p:cxnSp>
        <p:nvCxnSpPr>
          <p:cNvPr id="42" name="Straight Connector 32">
            <a:extLst>
              <a:ext uri="{FF2B5EF4-FFF2-40B4-BE49-F238E27FC236}">
                <a16:creationId xmlns:a16="http://schemas.microsoft.com/office/drawing/2014/main" id="{F9B35EBB-E110-500A-4071-8358FA0C4F18}"/>
              </a:ext>
            </a:extLst>
          </p:cNvPr>
          <p:cNvCxnSpPr>
            <a:cxnSpLocks/>
          </p:cNvCxnSpPr>
          <p:nvPr/>
        </p:nvCxnSpPr>
        <p:spPr>
          <a:xfrm flipH="1">
            <a:off x="6591300" y="4593533"/>
            <a:ext cx="5118100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5" name="TextBox 21">
            <a:extLst>
              <a:ext uri="{FF2B5EF4-FFF2-40B4-BE49-F238E27FC236}">
                <a16:creationId xmlns:a16="http://schemas.microsoft.com/office/drawing/2014/main" id="{CAFE4A06-E59E-A93D-B167-BB3C746FEE13}"/>
              </a:ext>
            </a:extLst>
          </p:cNvPr>
          <p:cNvSpPr txBox="1"/>
          <p:nvPr/>
        </p:nvSpPr>
        <p:spPr>
          <a:xfrm>
            <a:off x="7411453" y="4017641"/>
            <a:ext cx="4301122" cy="572010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es-es" sz="1400" b="1" i="0" u="none" baseline="0" dirty="0">
                <a:latin typeface="+mj-lt"/>
                <a:ea typeface="+mj-lt"/>
                <a:cs typeface="+mj-lt"/>
              </a:rPr>
              <a:t>Desenganche rápido único para la bomba y el sensor</a:t>
            </a:r>
          </a:p>
          <a:p>
            <a:pPr algn="r" rtl="0">
              <a:spcAft>
                <a:spcPts val="400"/>
              </a:spcAft>
            </a:pPr>
            <a:r>
              <a:rPr lang="es-es" sz="1400" b="0" i="0" u="none" baseline="0" dirty="0"/>
              <a:t>Diseño optimizado para una desconexión más rápida</a:t>
            </a:r>
          </a:p>
        </p:txBody>
      </p:sp>
      <p:cxnSp>
        <p:nvCxnSpPr>
          <p:cNvPr id="43" name="Straight Connector 32">
            <a:extLst>
              <a:ext uri="{FF2B5EF4-FFF2-40B4-BE49-F238E27FC236}">
                <a16:creationId xmlns:a16="http://schemas.microsoft.com/office/drawing/2014/main" id="{14B1A39C-31E2-AD39-6FD7-6069D847676B}"/>
              </a:ext>
            </a:extLst>
          </p:cNvPr>
          <p:cNvCxnSpPr>
            <a:cxnSpLocks/>
          </p:cNvCxnSpPr>
          <p:nvPr/>
        </p:nvCxnSpPr>
        <p:spPr>
          <a:xfrm flipH="1">
            <a:off x="6682596" y="5305777"/>
            <a:ext cx="5026804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" name="TextBox 21">
            <a:extLst>
              <a:ext uri="{FF2B5EF4-FFF2-40B4-BE49-F238E27FC236}">
                <a16:creationId xmlns:a16="http://schemas.microsoft.com/office/drawing/2014/main" id="{75ABF982-06C9-2E2B-9732-8F221A1E70C6}"/>
              </a:ext>
            </a:extLst>
          </p:cNvPr>
          <p:cNvSpPr txBox="1"/>
          <p:nvPr/>
        </p:nvSpPr>
        <p:spPr>
          <a:xfrm>
            <a:off x="6748144" y="4615710"/>
            <a:ext cx="4972978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es-es" sz="1400" b="1" i="0" u="none" baseline="0" dirty="0">
                <a:latin typeface="+mj-lt"/>
                <a:ea typeface="+mj-lt"/>
                <a:cs typeface="+mj-lt"/>
              </a:rPr>
              <a:t>Diseño inteligente para manguera y cables de descarga</a:t>
            </a:r>
          </a:p>
          <a:p>
            <a:pPr algn="r" rtl="0">
              <a:spcAft>
                <a:spcPts val="400"/>
              </a:spcAft>
            </a:pPr>
            <a:r>
              <a:rPr lang="es-es" sz="1400" b="0" i="0" u="none" baseline="0" dirty="0"/>
              <a:t>Extracción rápida del contenedor, sin necesidad de desconectarlo</a:t>
            </a:r>
          </a:p>
        </p:txBody>
      </p:sp>
      <p:sp>
        <p:nvSpPr>
          <p:cNvPr id="47" name="TextBox 21">
            <a:extLst>
              <a:ext uri="{FF2B5EF4-FFF2-40B4-BE49-F238E27FC236}">
                <a16:creationId xmlns:a16="http://schemas.microsoft.com/office/drawing/2014/main" id="{EB061C9F-18A2-776C-E523-00506575F4DA}"/>
              </a:ext>
            </a:extLst>
          </p:cNvPr>
          <p:cNvSpPr txBox="1"/>
          <p:nvPr/>
        </p:nvSpPr>
        <p:spPr>
          <a:xfrm>
            <a:off x="482599" y="3229515"/>
            <a:ext cx="4079775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>
              <a:spcAft>
                <a:spcPts val="400"/>
              </a:spcAft>
            </a:pPr>
            <a:r>
              <a:rPr lang="es-es" sz="1400" b="1" i="0" u="none" baseline="0" dirty="0">
                <a:latin typeface="+mj-lt"/>
                <a:ea typeface="+mj-lt"/>
                <a:cs typeface="+mj-lt"/>
              </a:rPr>
              <a:t>Cesta de accesorios con contención de derrames</a:t>
            </a:r>
          </a:p>
          <a:p>
            <a:pPr algn="l" rtl="0">
              <a:spcAft>
                <a:spcPts val="400"/>
              </a:spcAft>
            </a:pPr>
            <a:r>
              <a:rPr lang="es-es" sz="1400" b="0" i="0" u="none" baseline="0" dirty="0"/>
              <a:t>Mantiene las herramientas organizadas y captura las fugas cuando se desconecta la manguera</a:t>
            </a:r>
          </a:p>
        </p:txBody>
      </p:sp>
      <p:sp>
        <p:nvSpPr>
          <p:cNvPr id="48" name="TextBox 21">
            <a:extLst>
              <a:ext uri="{FF2B5EF4-FFF2-40B4-BE49-F238E27FC236}">
                <a16:creationId xmlns:a16="http://schemas.microsoft.com/office/drawing/2014/main" id="{620AFA60-C335-F39D-EC83-97F154BD00F2}"/>
              </a:ext>
            </a:extLst>
          </p:cNvPr>
          <p:cNvSpPr txBox="1"/>
          <p:nvPr/>
        </p:nvSpPr>
        <p:spPr>
          <a:xfrm>
            <a:off x="7937500" y="3082439"/>
            <a:ext cx="3775076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es-es" sz="1400" b="1" i="0" u="none" baseline="0">
                <a:latin typeface="+mj-lt"/>
                <a:ea typeface="+mj-lt"/>
                <a:cs typeface="+mj-lt"/>
              </a:rPr>
              <a:t>Entrada sellada de 70 mm con juntas tóricas</a:t>
            </a:r>
          </a:p>
          <a:p>
            <a:pPr algn="r" rtl="0">
              <a:spcAft>
                <a:spcPts val="400"/>
              </a:spcAft>
            </a:pPr>
            <a:r>
              <a:rPr lang="es-es" sz="1400" b="0" i="0" u="none" baseline="0"/>
              <a:t>Garantiza una conexión hermética y evita fugas durante el funcionamiento</a:t>
            </a: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274898CC-4410-8508-3140-A3B0107C65F2}"/>
              </a:ext>
            </a:extLst>
          </p:cNvPr>
          <p:cNvCxnSpPr>
            <a:cxnSpLocks/>
          </p:cNvCxnSpPr>
          <p:nvPr/>
        </p:nvCxnSpPr>
        <p:spPr>
          <a:xfrm>
            <a:off x="6238875" y="3080708"/>
            <a:ext cx="5473700" cy="790575"/>
          </a:xfrm>
          <a:prstGeom prst="bentConnector3">
            <a:avLst>
              <a:gd name="adj1" fmla="val -99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04E32D3F-48BA-D205-1017-BA253826DD63}"/>
              </a:ext>
            </a:extLst>
          </p:cNvPr>
          <p:cNvCxnSpPr>
            <a:cxnSpLocks/>
          </p:cNvCxnSpPr>
          <p:nvPr/>
        </p:nvCxnSpPr>
        <p:spPr>
          <a:xfrm>
            <a:off x="482600" y="2000250"/>
            <a:ext cx="5503863" cy="183113"/>
          </a:xfrm>
          <a:prstGeom prst="bentConnector3">
            <a:avLst>
              <a:gd name="adj1" fmla="val 100057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BA3C71FB-E3B9-35C6-594D-509ADABBCFF2}"/>
              </a:ext>
            </a:extLst>
          </p:cNvPr>
          <p:cNvCxnSpPr>
            <a:cxnSpLocks/>
          </p:cNvCxnSpPr>
          <p:nvPr/>
        </p:nvCxnSpPr>
        <p:spPr>
          <a:xfrm flipV="1">
            <a:off x="482600" y="3733800"/>
            <a:ext cx="5265738" cy="283896"/>
          </a:xfrm>
          <a:prstGeom prst="bentConnector3">
            <a:avLst>
              <a:gd name="adj1" fmla="val 100106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nector: Elbow 114">
            <a:extLst>
              <a:ext uri="{FF2B5EF4-FFF2-40B4-BE49-F238E27FC236}">
                <a16:creationId xmlns:a16="http://schemas.microsoft.com/office/drawing/2014/main" id="{69B0AC40-EFD5-69E3-0E5F-EDAD14E19875}"/>
              </a:ext>
            </a:extLst>
          </p:cNvPr>
          <p:cNvCxnSpPr>
            <a:cxnSpLocks/>
          </p:cNvCxnSpPr>
          <p:nvPr/>
        </p:nvCxnSpPr>
        <p:spPr>
          <a:xfrm flipV="1">
            <a:off x="482600" y="4726112"/>
            <a:ext cx="4972978" cy="329275"/>
          </a:xfrm>
          <a:prstGeom prst="bentConnector3">
            <a:avLst>
              <a:gd name="adj1" fmla="val 99931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822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4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Resumen del producto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6</a:t>
            </a:fld>
            <a:endParaRPr lang="es-es" noProof="0" dirty="0"/>
          </a:p>
        </p:txBody>
      </p:sp>
    </p:spTree>
    <p:extLst>
      <p:ext uri="{BB962C8B-B14F-4D97-AF65-F5344CB8AC3E}">
        <p14:creationId xmlns:p14="http://schemas.microsoft.com/office/powerpoint/2010/main" val="403878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646F457-5286-C1B0-7B06-670E4AD014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Arquitectura y lista de variantes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2F064C46-1744-CE29-9B17-ED67403BB9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s-es" b="1" i="0" u="none" baseline="0"/>
              <a:t>Definición del producto</a:t>
            </a:r>
            <a:endParaRPr lang="es-es" noProof="0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73EC72D-EEED-8937-2C3C-93C9E2095D5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20896" y="6529068"/>
            <a:ext cx="8667604" cy="153888"/>
          </a:xfrm>
        </p:spPr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4276B80-576A-E09E-6C26-5E39B8565A8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7</a:t>
            </a:fld>
            <a:endParaRPr lang="es-es" noProof="0" dirty="0"/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C3062BCA-1ED9-40F1-294B-E8A457A79163}"/>
              </a:ext>
            </a:extLst>
          </p:cNvPr>
          <p:cNvSpPr txBox="1"/>
          <p:nvPr/>
        </p:nvSpPr>
        <p:spPr>
          <a:xfrm>
            <a:off x="482600" y="1422400"/>
            <a:ext cx="3155950" cy="1570430"/>
          </a:xfrm>
          <a:prstGeom prst="rect">
            <a:avLst/>
          </a:prstGeom>
          <a:noFill/>
        </p:spPr>
        <p:txBody>
          <a:bodyPr wrap="square" lIns="0" tIns="0" rIns="0" bIns="91440" rtlCol="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800"/>
              </a:spcAft>
            </a:pPr>
            <a:r>
              <a:rPr lang="es-es" sz="1400" b="0" i="0" u="none" baseline="0" dirty="0">
                <a:sym typeface="Wingdings" panose="05000000000000000000" pitchFamily="2" charset="2"/>
              </a:rPr>
              <a:t>Dos variantes</a:t>
            </a:r>
            <a:r>
              <a:rPr lang="es-es" sz="1400" b="0" i="0" u="none" baseline="0" dirty="0"/>
              <a:t>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rincipales:</a:t>
            </a:r>
          </a:p>
          <a:p>
            <a:pPr marL="201168" indent="-201168" algn="l" rtl="0">
              <a:lnSpc>
                <a:spcPct val="12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es" sz="1400" b="0" i="0" u="none" baseline="0" dirty="0">
                <a:latin typeface="+mj-lt"/>
                <a:ea typeface="+mj-lt"/>
                <a:cs typeface="+mj-lt"/>
              </a:rPr>
              <a:t>OIL230 </a:t>
            </a:r>
            <a:r>
              <a:rPr lang="es-es" sz="1400" b="0" i="0" u="none" baseline="0" dirty="0"/>
              <a:t>: descarga por gravedad, sencilla y eficaz</a:t>
            </a:r>
            <a:endParaRPr lang="es-es" sz="1400" dirty="0">
              <a:latin typeface="+mj-lt"/>
            </a:endParaRPr>
          </a:p>
          <a:p>
            <a:pPr marL="201168" indent="-201168" algn="l" rtl="0">
              <a:lnSpc>
                <a:spcPct val="12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es" sz="1400" b="0" i="0" u="none" baseline="0" dirty="0">
                <a:latin typeface="+mj-lt"/>
                <a:ea typeface="+mj-lt"/>
                <a:cs typeface="+mj-lt"/>
              </a:rPr>
              <a:t>OIL230 E </a:t>
            </a:r>
            <a:r>
              <a:rPr lang="es-es" sz="1400" b="0" i="0" u="none" baseline="0" dirty="0"/>
              <a:t>: descarga de bomba, rápida y potente</a:t>
            </a: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BBC55FA2-FDD2-C611-AE9D-05B69149D3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405" t="-5809" r="-6675"/>
          <a:stretch>
            <a:fillRect/>
          </a:stretch>
        </p:blipFill>
        <p:spPr>
          <a:xfrm>
            <a:off x="4762830" y="1376777"/>
            <a:ext cx="2379260" cy="2889345"/>
          </a:xfrm>
          <a:prstGeom prst="rect">
            <a:avLst/>
          </a:prstGeom>
        </p:spPr>
      </p:pic>
      <p:pic>
        <p:nvPicPr>
          <p:cNvPr id="8" name="Immagine 12">
            <a:extLst>
              <a:ext uri="{FF2B5EF4-FFF2-40B4-BE49-F238E27FC236}">
                <a16:creationId xmlns:a16="http://schemas.microsoft.com/office/drawing/2014/main" id="{54730CAF-AEF6-46CB-1E46-9A7D8F2E986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700" r="-3700"/>
          <a:stretch>
            <a:fillRect/>
          </a:stretch>
        </p:blipFill>
        <p:spPr>
          <a:xfrm>
            <a:off x="8487331" y="1332243"/>
            <a:ext cx="2319740" cy="2902993"/>
          </a:xfrm>
          <a:prstGeom prst="rect">
            <a:avLst/>
          </a:prstGeom>
        </p:spPr>
      </p:pic>
      <p:graphicFrame>
        <p:nvGraphicFramePr>
          <p:cNvPr id="9" name="Tabella 17">
            <a:extLst>
              <a:ext uri="{FF2B5EF4-FFF2-40B4-BE49-F238E27FC236}">
                <a16:creationId xmlns:a16="http://schemas.microsoft.com/office/drawing/2014/main" id="{DB3D1527-9832-BE8D-BF51-5744D6EED3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720669"/>
              </p:ext>
            </p:extLst>
          </p:nvPr>
        </p:nvGraphicFramePr>
        <p:xfrm>
          <a:off x="482599" y="4127366"/>
          <a:ext cx="11222418" cy="2124001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3828129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3828129">
                  <a:extLst>
                    <a:ext uri="{9D8B030D-6E8A-4147-A177-3AD203B41FA5}">
                      <a16:colId xmlns:a16="http://schemas.microsoft.com/office/drawing/2014/main" val="69418786"/>
                    </a:ext>
                  </a:extLst>
                </a:gridCol>
              </a:tblGrid>
              <a:tr h="2981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Funció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OIL230</a:t>
                      </a:r>
                      <a:endParaRPr lang="es-es" sz="12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OIL230 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Contenedor para viruta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s-es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s-es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261267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</a:rPr>
                        <a:t>Sensor</a:t>
                      </a: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 electrónico de líquid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s-es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s-es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Bomba de descarga</a:t>
                      </a:r>
                      <a:endParaRPr lang="es-es" sz="1200" b="0" i="0" u="none" strike="noStrike" noProof="0" dirty="0">
                        <a:effectLst/>
                        <a:latin typeface="+mn-lt"/>
                        <a:ea typeface="Roboto Medium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s-es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s-es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Pistola de descarg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endParaRPr lang="es-es" sz="16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es-es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Filtro de neblina de aceit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429385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Ganchos de elevación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150561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Abrazaderas de manguer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1482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485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EB00CB4D-9A69-5812-811C-B947734BA2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Configuraciones adaptadas a cada necesidad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A463C577-1DF1-F1B5-0EC4-67D040A6A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s-es" b="1" i="0" u="none" baseline="0"/>
              <a:t>Variantes y opciones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5F9D685-6F6C-D182-48C7-C54649CE91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D303DB2-1BF4-C241-9BBE-F7762CB2C8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8</a:t>
            </a:fld>
            <a:endParaRPr lang="es-es" noProof="0" dirty="0"/>
          </a:p>
        </p:txBody>
      </p:sp>
      <p:graphicFrame>
        <p:nvGraphicFramePr>
          <p:cNvPr id="8" name="Tabella 17">
            <a:extLst>
              <a:ext uri="{FF2B5EF4-FFF2-40B4-BE49-F238E27FC236}">
                <a16:creationId xmlns:a16="http://schemas.microsoft.com/office/drawing/2014/main" id="{6C1D58D5-7A80-3D5C-1B88-60D8B62E16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5546077"/>
              </p:ext>
            </p:extLst>
          </p:nvPr>
        </p:nvGraphicFramePr>
        <p:xfrm>
          <a:off x="385325" y="1437493"/>
          <a:ext cx="11226383" cy="3675686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411480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5739983">
                  <a:extLst>
                    <a:ext uri="{9D8B030D-6E8A-4147-A177-3AD203B41FA5}">
                      <a16:colId xmlns:a16="http://schemas.microsoft.com/office/drawing/2014/main" val="69418786"/>
                    </a:ext>
                  </a:extLst>
                </a:gridCol>
              </a:tblGrid>
              <a:tr h="38384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Acrónimo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Descrip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Ventajas: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IL230 con descarga de líquido accionada por bomb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200" b="0" i="0" u="none" baseline="0">
                          <a:latin typeface="+mn-lt"/>
                          <a:ea typeface="+mn-lt"/>
                          <a:cs typeface="+mn-lt"/>
                        </a:rPr>
                        <a:t>Vaciado rápido y limpio con hasta 100 l/min. Capacidad de manipulación de líquidos prácticamente ilimitada, ideal para un uso continuo.</a:t>
                      </a:r>
                      <a:endParaRPr lang="es-es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26126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L12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ntenedor opcional con un volumen total de 120 litros </a:t>
                      </a:r>
                      <a:br>
                        <a:rPr lang="es-es" sz="12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s-es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solo versión </a:t>
                      </a:r>
                      <a:r>
                        <a:rPr lang="es-es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E</a:t>
                      </a:r>
                      <a:r>
                        <a:rPr lang="es-es" sz="1200" b="0" i="0" u="none" strike="noStrike" kern="1200" baseline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empo de funcionamiento prolongado y menos paradas para vaciar el contenedor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MS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ope de sólidos mecá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stema de seguridad: evita el desbordamiento si la cesta de virutas no se vacía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CB (*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rtl="0" fontAlgn="b"/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Versiones </a:t>
                      </a:r>
                      <a:r>
                        <a:rPr lang="es-e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mbos</a:t>
                      </a:r>
                      <a:r>
                        <a:rPr lang="es-es" sz="12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(*)</a:t>
                      </a:r>
                      <a:endParaRPr lang="es-e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rtl="0" fontAlgn="b"/>
                      <a:r>
                        <a:rPr lang="es-e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figuraciones flexibles que combinan bomba, filtro y dispositivos de seguridad para aplicaciones específicas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Contenedor de acero inoxidable</a:t>
                      </a:r>
                      <a:endParaRPr lang="es-e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ayor durabilidad, resistencia a la corrosión y vida útil más larga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42938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IND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nchufe azul industrial de 16 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exión de alimentación fiable de grado industrial, que garantiza un funcionamiento seguro y el cumplimiento </a:t>
                      </a:r>
                      <a:br>
                        <a:rPr lang="es-e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s-e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n entornos exigentes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838879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KW2.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Versión de 2 motores del OIL230</a:t>
                      </a:r>
                      <a:endParaRPr lang="es-e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0" i="0" u="none" baseline="0" dirty="0"/>
                        <a:t>Consumo de energía reducido, ideal para instalaciones en las que no se puede superar la carga eléctrica, como las instalaciones de los países </a:t>
                      </a:r>
                      <a:r>
                        <a:rPr lang="es-es" sz="1200" b="0" i="0" u="none" baseline="0" dirty="0"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escandinavos</a:t>
                      </a:r>
                      <a:r>
                        <a:rPr lang="es-es" sz="1200" b="0" i="0" u="none" baseline="0" dirty="0"/>
                        <a:t>.</a:t>
                      </a:r>
                      <a:endParaRPr lang="es-e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893327"/>
                  </a:ext>
                </a:extLst>
              </a:tr>
            </a:tbl>
          </a:graphicData>
        </a:graphic>
      </p:graphicFrame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9849B64E-BC0A-D088-6420-0D872D52CA5C}"/>
              </a:ext>
            </a:extLst>
          </p:cNvPr>
          <p:cNvSpPr txBox="1"/>
          <p:nvPr/>
        </p:nvSpPr>
        <p:spPr>
          <a:xfrm>
            <a:off x="489618" y="6027579"/>
            <a:ext cx="3548982" cy="246221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algn="l" rtl="0"/>
            <a:r>
              <a:rPr lang="es-es" sz="1000" b="0" i="0" u="none" baseline="0">
                <a:solidFill>
                  <a:schemeClr val="bg2">
                    <a:lumMod val="75000"/>
                  </a:schemeClr>
                </a:solidFill>
              </a:rPr>
              <a:t>* Las versiones combinadas se detallan en la sección </a:t>
            </a:r>
            <a:r>
              <a:rPr lang="es-es" sz="1000" b="0" i="0" u="none" baseline="0">
                <a:solidFill>
                  <a:schemeClr val="bg2">
                    <a:lumMod val="75000"/>
                  </a:schemeClr>
                </a:solidFill>
                <a:latin typeface="+mj-lt"/>
                <a:ea typeface="+mj-lt"/>
                <a:cs typeface="+mj-lt"/>
              </a:rPr>
              <a:t>Accesorios</a:t>
            </a:r>
            <a:r>
              <a:rPr lang="es-es" sz="1000" b="0" i="0" u="none" baseline="0">
                <a:solidFill>
                  <a:schemeClr val="bg2">
                    <a:lumMod val="75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39685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5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Accesorios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9</a:t>
            </a:fld>
            <a:endParaRPr lang="es-es" noProof="0" dirty="0"/>
          </a:p>
        </p:txBody>
      </p:sp>
    </p:spTree>
    <p:extLst>
      <p:ext uri="{BB962C8B-B14F-4D97-AF65-F5344CB8AC3E}">
        <p14:creationId xmlns:p14="http://schemas.microsoft.com/office/powerpoint/2010/main" val="2993228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1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5507038" cy="3355393"/>
          </a:xfrm>
        </p:spPr>
        <p:txBody>
          <a:bodyPr/>
          <a:lstStyle/>
          <a:p>
            <a:pPr algn="l" rtl="0"/>
            <a:r>
              <a:rPr lang="es-es" b="0" i="0" u="none" baseline="0"/>
              <a:t>Propuesta de valor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</a:t>
            </a:fld>
            <a:endParaRPr lang="es-es" noProof="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4B266C-EFAD-AB1C-E3CB-D38013F082CD}"/>
              </a:ext>
            </a:extLst>
          </p:cNvPr>
          <p:cNvSpPr txBox="1"/>
          <p:nvPr/>
        </p:nvSpPr>
        <p:spPr>
          <a:xfrm>
            <a:off x="9260378" y="494490"/>
            <a:ext cx="2447434" cy="20467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 rt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s-es" sz="1200" b="0" i="1" u="none" baseline="0">
                <a:solidFill>
                  <a:schemeClr val="tx2"/>
                </a:solidFill>
                <a:ea typeface="Roboto Black" panose="02000000000000000000" pitchFamily="2" charset="0"/>
                <a:cs typeface="Poppins SemiBold" panose="00000700000000000000" pitchFamily="2" charset="0"/>
              </a:rPr>
              <a:t>Uso interno</a:t>
            </a:r>
          </a:p>
        </p:txBody>
      </p:sp>
    </p:spTree>
    <p:extLst>
      <p:ext uri="{BB962C8B-B14F-4D97-AF65-F5344CB8AC3E}">
        <p14:creationId xmlns:p14="http://schemas.microsoft.com/office/powerpoint/2010/main" val="135927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>
            <a:extLst>
              <a:ext uri="{FF2B5EF4-FFF2-40B4-BE49-F238E27FC236}">
                <a16:creationId xmlns:a16="http://schemas.microsoft.com/office/drawing/2014/main" id="{F9AC968E-DC5F-F5A6-B18E-714E5787EF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04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31" imgH="232" progId="TCLayout.ActiveDocument.1">
                  <p:embed/>
                </p:oleObj>
              </mc:Choice>
              <mc:Fallback>
                <p:oleObj name="Diapositiva think-cell" r:id="rId3" imgW="231" imgH="232" progId="TCLayout.ActiveDocument.1">
                  <p:embed/>
                  <p:pic>
                    <p:nvPicPr>
                      <p:cNvPr id="11" name="think-cell data - do not delete">
                        <a:extLst>
                          <a:ext uri="{FF2B5EF4-FFF2-40B4-BE49-F238E27FC236}">
                            <a16:creationId xmlns:a16="http://schemas.microsoft.com/office/drawing/2014/main" id="{F9AC968E-DC5F-F5A6-B18E-714E5787E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egnaposto contenuto 7">
            <a:extLst>
              <a:ext uri="{FF2B5EF4-FFF2-40B4-BE49-F238E27FC236}">
                <a16:creationId xmlns:a16="http://schemas.microsoft.com/office/drawing/2014/main" id="{846CCB89-831F-158D-A2A1-F125589B8A39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>
                <a:latin typeface="+mj-lt"/>
                <a:ea typeface="+mj-lt"/>
                <a:cs typeface="+mj-lt"/>
              </a:rPr>
              <a:t>Kit de limpieza general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1400" b="0" i="0" u="none" baseline="0">
                <a:solidFill>
                  <a:schemeClr val="bg2">
                    <a:lumMod val="75000"/>
                  </a:schemeClr>
                </a:solidFill>
              </a:rPr>
              <a:t>P/</a:t>
            </a:r>
            <a:r>
              <a:rPr lang="es-es" b="0" i="0" u="none" baseline="0">
                <a:solidFill>
                  <a:schemeClr val="bg2">
                    <a:lumMod val="75000"/>
                  </a:schemeClr>
                </a:solidFill>
              </a:rPr>
              <a:t>N</a:t>
            </a:r>
            <a:r>
              <a:rPr lang="es-es" sz="1400" b="0" i="0" u="none" baseline="0">
                <a:solidFill>
                  <a:schemeClr val="bg2">
                    <a:lumMod val="75000"/>
                  </a:schemeClr>
                </a:solidFill>
              </a:rPr>
              <a:t>: Z7 24156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Boquillas duraderas de</a:t>
            </a:r>
            <a:r>
              <a:rPr lang="es-es" b="0" i="0" u="none" baseline="0"/>
              <a:t> 50 mm para una aspiración de gran volumen y una limpieza precisa de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anuras</a:t>
            </a:r>
            <a:r>
              <a:rPr lang="es-es" b="0" i="0" u="none" baseline="0"/>
              <a:t> y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uperficies</a:t>
            </a:r>
            <a:r>
              <a:rPr lang="es-es" b="0" i="0" u="none" baseline="0"/>
              <a:t> planas. La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anguera de poliuretano de 3 m</a:t>
            </a:r>
            <a:r>
              <a:rPr lang="es-es" b="0" i="0" u="none" baseline="0"/>
              <a:t> ofrece el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quilibrio</a:t>
            </a:r>
            <a:r>
              <a:rPr lang="es-es" b="0" i="0" u="none" baseline="0"/>
              <a:t> ideal entre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urabilidad</a:t>
            </a:r>
            <a:r>
              <a:rPr lang="es-es" b="0" i="0" u="none" baseline="0"/>
              <a:t> (resistente a las virutas afiladas y al aceite) y la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lexibilidad</a:t>
            </a:r>
            <a:r>
              <a:rPr lang="es-es" b="0" i="0" u="none" baseline="0"/>
              <a:t> para un manejo cómodo.</a:t>
            </a:r>
            <a:endParaRPr lang="es-es" noProof="0" dirty="0"/>
          </a:p>
        </p:txBody>
      </p:sp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A0F753BB-88A4-EAE9-77C6-F378B647C26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3" y="1520455"/>
            <a:ext cx="3559175" cy="4610837"/>
          </a:xfrm>
        </p:spPr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>
                <a:latin typeface="+mj-lt"/>
                <a:ea typeface="+mj-lt"/>
                <a:cs typeface="+mj-lt"/>
              </a:rPr>
              <a:t>Regulador de caudal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>
                <a:solidFill>
                  <a:schemeClr val="bg2">
                    <a:lumMod val="75000"/>
                  </a:schemeClr>
                </a:solidFill>
              </a:rPr>
              <a:t>Número de referencia: 4072200890</a:t>
            </a:r>
            <a:endParaRPr lang="es-es" noProof="0" dirty="0"/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Ideal</a:t>
            </a:r>
            <a:r>
              <a:rPr lang="es-es" b="0" i="0" u="none" baseline="0"/>
              <a:t> para recoger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grandes</a:t>
            </a:r>
            <a:r>
              <a:rPr lang="es-es" b="0" i="0" u="none" baseline="0"/>
              <a:t>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volúmenes</a:t>
            </a:r>
            <a:r>
              <a:rPr lang="es-es" b="0" i="0" u="none" baseline="0"/>
              <a:t> de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íquido</a:t>
            </a:r>
            <a:r>
              <a:rPr lang="es-es" b="0" i="0" u="none" baseline="0"/>
              <a:t>, especialmente cuando la boquilla está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umergida</a:t>
            </a:r>
            <a:r>
              <a:rPr lang="es-es" b="0" i="0" u="none" baseline="0"/>
              <a:t>. Mejora el control y la eficiencia durante la recuperación de líquidos pesados.</a:t>
            </a:r>
            <a:endParaRPr lang="es-es" noProof="0" dirty="0">
              <a:latin typeface="+mj-lt"/>
            </a:endParaRPr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5DB00741-2044-D510-1892-B23DBA3714B0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>
                <a:latin typeface="+mj-lt"/>
                <a:ea typeface="+mj-lt"/>
                <a:cs typeface="+mj-lt"/>
              </a:rPr>
              <a:t>Boquilla plana flexible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>
                <a:solidFill>
                  <a:schemeClr val="bg2">
                    <a:lumMod val="75000"/>
                  </a:schemeClr>
                </a:solidFill>
              </a:rPr>
              <a:t>Número de referencia: 4072100240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igero</a:t>
            </a:r>
            <a:r>
              <a:rPr lang="es-es" b="0" i="0" u="none" baseline="0"/>
              <a:t> y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lexible</a:t>
            </a:r>
            <a:r>
              <a:rPr lang="es-es" b="0" i="0" u="none" baseline="0"/>
              <a:t>, diseñado para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spacios</a:t>
            </a:r>
            <a:r>
              <a:rPr lang="es-es" b="0" i="0" u="none" baseline="0"/>
              <a:t>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ducidos</a:t>
            </a:r>
            <a:r>
              <a:rPr lang="es-es" b="0" i="0" u="none" baseline="0"/>
              <a:t> dentro de máquinas CNC. La punta en ángulo de 45° ofrece una limpieza eficaz tanto horizontal como vertical.</a:t>
            </a:r>
            <a:endParaRPr lang="es-es" noProof="0" dirty="0">
              <a:latin typeface="+mj-lt"/>
            </a:endParaRPr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D62A337B-6154-C868-0D6F-45A0E475FD7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EDFDB4FA-DB69-D2C4-824A-293D896A28C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0</a:t>
            </a:fld>
            <a:endParaRPr lang="es-es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936E9D9-DBFA-69DF-5A35-9B556976FB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Un juego completo para satisfacer todas las necesidades de limpieza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24F6AE0E-65B7-A17B-F067-BDD0A21AA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/>
              <a:t>Accesorios específico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36F3376-5549-5837-64A2-09ED2845B6F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809180">
            <a:off x="655636" y="4720533"/>
            <a:ext cx="1499957" cy="100047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17063A2-0C13-02DF-890E-162D9B2E8EE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5394" y="5060401"/>
            <a:ext cx="1325870" cy="88435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71C3B65-0572-830F-61A5-25CF6273369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5962" y="4477576"/>
            <a:ext cx="1041749" cy="69499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3985210-9C0E-ED32-4420-C614F36C21D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1702" y="4406303"/>
            <a:ext cx="1600414" cy="106742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E6C4D42-5422-F27F-5167-1ECAFA72E2A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2325" y="4408938"/>
            <a:ext cx="999479" cy="66651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3C31A485-FC75-52CA-2E63-D2391770A18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2861" y="4936981"/>
            <a:ext cx="1600341" cy="106742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F1AAE20-15F4-F9F4-54C5-BE75D3A98F3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83" y="4247414"/>
            <a:ext cx="2246191" cy="168464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A11E6EF0-6117-8B7C-7C49-D5EE1FF088C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316412" y="3897265"/>
            <a:ext cx="3559175" cy="2234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55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3E7525-CFBF-6A6A-D337-77685869CA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22D08CD3-0AFA-FA1D-F50A-522C468B4FEE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>
                <a:latin typeface="+mj-lt"/>
                <a:ea typeface="+mj-lt"/>
                <a:cs typeface="+mj-lt"/>
              </a:rPr>
              <a:t>Bandeja de goteo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>
                <a:solidFill>
                  <a:schemeClr val="bg2">
                    <a:lumMod val="75000"/>
                  </a:schemeClr>
                </a:solidFill>
              </a:rPr>
              <a:t>Número de referencia: 4081801764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s-es" b="0" i="0" u="none" baseline="0"/>
              <a:t>Colocado debajo de la cámara del filtro al retirar el contenedor,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vita</a:t>
            </a:r>
            <a:r>
              <a:rPr lang="es-es" b="0" i="0" u="none" baseline="0"/>
              <a:t> que incluso una sola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gota</a:t>
            </a:r>
            <a:r>
              <a:rPr lang="es-es" b="0" i="0" u="none" baseline="0"/>
              <a:t>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e aceite llegue al suelo</a:t>
            </a:r>
            <a:r>
              <a:rPr lang="es-es" b="0" i="0" u="none" baseline="0"/>
              <a:t>.</a:t>
            </a:r>
            <a:endParaRPr lang="es-es" noProof="0" dirty="0">
              <a:latin typeface="+mj-lt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8E08CEB-EA05-D077-01A9-3F2504DF68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16655" y="3420306"/>
            <a:ext cx="1951565" cy="2777067"/>
          </a:xfrm>
          <a:prstGeom prst="rect">
            <a:avLst/>
          </a:prstGeom>
        </p:spPr>
      </p:pic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9557837-0589-13B4-536D-4089197527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31" imgH="232" progId="TCLayout.ActiveDocument.1">
                  <p:embed/>
                </p:oleObj>
              </mc:Choice>
              <mc:Fallback>
                <p:oleObj name="Diapositiva think-cell" r:id="rId4" imgW="231" imgH="23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557837-0589-13B4-536D-4089197527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egnaposto contenuto 7">
            <a:extLst>
              <a:ext uri="{FF2B5EF4-FFF2-40B4-BE49-F238E27FC236}">
                <a16:creationId xmlns:a16="http://schemas.microsoft.com/office/drawing/2014/main" id="{758C1186-53FD-E8D7-37AA-CBD958A0C539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 vert="horz" lIns="216000" tIns="216000" rIns="180000" bIns="216000" rtlCol="0" anchor="t">
            <a:noAutofit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>
                <a:latin typeface="+mj-lt"/>
                <a:ea typeface="+mj-lt"/>
                <a:cs typeface="+mj-lt"/>
              </a:rPr>
              <a:t>Abrazadera para pistola </a:t>
            </a:r>
            <a:r>
              <a:rPr lang="es-es" b="0" i="0" u="none" baseline="0">
                <a:latin typeface="+mj-lt"/>
                <a:ea typeface="+mj-lt"/>
                <a:cs typeface="+mj-lt"/>
              </a:rPr>
              <a:t>de descarga</a:t>
            </a:r>
            <a:endParaRPr lang="en-US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 dirty="0">
                <a:solidFill>
                  <a:schemeClr val="bg2">
                    <a:lumMod val="75000"/>
                  </a:schemeClr>
                </a:solidFill>
              </a:rPr>
              <a:t>Número de referencia: </a:t>
            </a:r>
            <a:r>
              <a:rPr lang="es-es" dirty="0">
                <a:solidFill>
                  <a:schemeClr val="bg2">
                    <a:lumMod val="75000"/>
                  </a:schemeClr>
                </a:solidFill>
              </a:rPr>
              <a:t>4072200896</a:t>
            </a:r>
            <a:endParaRPr lang="es-es" b="0" i="0" u="none" baseline="0" dirty="0">
              <a:solidFill>
                <a:schemeClr val="bg2">
                  <a:lumMod val="75000"/>
                </a:schemeClr>
              </a:solidFill>
              <a:ea typeface="Roboto Light"/>
              <a:cs typeface="Roboto Light"/>
            </a:endParaRP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s-es" b="0" i="0" u="none" baseline="0" dirty="0"/>
              <a:t>Se </a:t>
            </a:r>
            <a:r>
              <a:rPr lang="es-es" b="0" i="0" u="none" baseline="0" dirty="0">
                <a:latin typeface="Roboto Medium"/>
                <a:ea typeface="Roboto Medium"/>
                <a:cs typeface="Roboto Medium"/>
              </a:rPr>
              <a:t>monta</a:t>
            </a:r>
            <a:r>
              <a:rPr lang="es-es" b="0" i="0" u="none" baseline="0" dirty="0"/>
              <a:t> </a:t>
            </a:r>
            <a:r>
              <a:rPr lang="es-es" b="0" i="0" u="none" baseline="0" dirty="0">
                <a:latin typeface="Roboto Medium"/>
                <a:ea typeface="Roboto Medium"/>
                <a:cs typeface="Roboto Medium"/>
              </a:rPr>
              <a:t>fácilmente</a:t>
            </a:r>
            <a:r>
              <a:rPr lang="es-es" b="0" i="0" u="none" baseline="0" dirty="0"/>
              <a:t> en la máquina. Una vez ajustada, la pistola permanece asegurada hacia el depósito de descarga, </a:t>
            </a:r>
            <a:r>
              <a:rPr lang="es-es" b="0" i="0" u="none" baseline="0" dirty="0">
                <a:latin typeface="Roboto Medium"/>
                <a:ea typeface="Roboto Medium"/>
                <a:cs typeface="Roboto Medium"/>
              </a:rPr>
              <a:t>sin</a:t>
            </a:r>
            <a:r>
              <a:rPr lang="es-es" b="0" i="0" u="none" baseline="0" dirty="0"/>
              <a:t> necesidad de </a:t>
            </a:r>
            <a:r>
              <a:rPr lang="es-es" b="0" i="0" u="none" baseline="0" dirty="0">
                <a:latin typeface="Roboto Medium"/>
                <a:ea typeface="Roboto Medium"/>
                <a:cs typeface="Roboto Medium"/>
              </a:rPr>
              <a:t>supervisión</a:t>
            </a:r>
            <a:r>
              <a:rPr lang="es-es" b="0" i="0" u="none" baseline="0" dirty="0"/>
              <a:t> durante el vaciado.</a:t>
            </a:r>
            <a:endParaRPr lang="es-es" noProof="0" dirty="0">
              <a:latin typeface="+mj-lt"/>
            </a:endParaRPr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C5571492-5D16-3CA9-B6DA-EF88FD6CAA99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>
                <a:latin typeface="+mj-lt"/>
                <a:ea typeface="+mj-lt"/>
                <a:cs typeface="+mj-lt"/>
              </a:rPr>
              <a:t>MSS: Tope de sólido mecánico</a:t>
            </a:r>
            <a:endParaRPr lang="es-es" noProof="0" dirty="0">
              <a:latin typeface="+mj-lt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>
                <a:solidFill>
                  <a:schemeClr val="bg2">
                    <a:lumMod val="75000"/>
                  </a:schemeClr>
                </a:solidFill>
              </a:rPr>
              <a:t>Número de referencia: 4089101350 (galvanizado)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>
                <a:solidFill>
                  <a:schemeClr val="bg2">
                    <a:lumMod val="75000"/>
                  </a:schemeClr>
                </a:solidFill>
              </a:rPr>
              <a:t>Número de referencia: 4089101351 (acero inoxidable)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rotección</a:t>
            </a:r>
            <a:r>
              <a:rPr lang="es-es" b="0" i="0" u="none" baseline="0"/>
              <a:t>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 prueba de fallos</a:t>
            </a:r>
            <a:r>
              <a:rPr lang="es-es" b="0" i="0" u="none" baseline="0"/>
              <a:t>  contra el sobrellenado de la cesta de virutas, lo que ofrece la máxima seguridad y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tranquilidad</a:t>
            </a:r>
            <a:r>
              <a:rPr lang="es-es" b="0" i="0" u="none" baseline="0"/>
              <a:t>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 </a:t>
            </a:r>
            <a:r>
              <a:rPr lang="es-es" b="0" i="0" u="none" baseline="0"/>
              <a:t>en el uso diario.</a:t>
            </a:r>
            <a:endParaRPr lang="es-es" noProof="0" dirty="0">
              <a:latin typeface="+mj-lt"/>
            </a:endParaRPr>
          </a:p>
          <a:p>
            <a:pPr marL="0" indent="0" algn="l" rtl="0">
              <a:buNone/>
            </a:pPr>
            <a:endParaRPr lang="es-es" noProof="0" dirty="0">
              <a:latin typeface="+mj-lt"/>
            </a:endParaRPr>
          </a:p>
          <a:p>
            <a:pPr marL="0" indent="0" algn="l" rtl="0">
              <a:buNone/>
            </a:pPr>
            <a:endParaRPr lang="es-es" noProof="0" dirty="0">
              <a:latin typeface="+mj-lt"/>
            </a:endParaRPr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9318C3CE-04B7-3ABF-7A2E-EB7F7D38B8B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15CDC119-662D-50E3-CB76-CB3E1FABF30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1</a:t>
            </a:fld>
            <a:endParaRPr lang="es-es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3870236-4035-8694-DAD6-E4032EAE82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Un juego completo para satisfacer todas las necesidades de limpieza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41A4D67B-5336-31A6-B28F-FCCDA7060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/>
              <a:t>Accesorios específicos</a:t>
            </a:r>
          </a:p>
        </p:txBody>
      </p:sp>
      <p:pic>
        <p:nvPicPr>
          <p:cNvPr id="15" name="Immagine 14" descr="Immagine che contiene cerchio&#10;&#10;Il contenuto generato dall'IA potrebbe non essere corretto.">
            <a:extLst>
              <a:ext uri="{FF2B5EF4-FFF2-40B4-BE49-F238E27FC236}">
                <a16:creationId xmlns:a16="http://schemas.microsoft.com/office/drawing/2014/main" id="{42320675-FA06-504E-5C06-95F2E096E1B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0873" t="-31725" r="-30696" b="-17316"/>
          <a:stretch>
            <a:fillRect/>
          </a:stretch>
        </p:blipFill>
        <p:spPr>
          <a:xfrm>
            <a:off x="8151450" y="3728183"/>
            <a:ext cx="3559174" cy="2403109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FAFF98FD-E864-3EFF-9583-145600017EE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29432" y="3728183"/>
            <a:ext cx="2629196" cy="2403109"/>
          </a:xfrm>
          <a:prstGeom prst="rect">
            <a:avLst/>
          </a:prstGeom>
        </p:spPr>
      </p:pic>
      <p:sp>
        <p:nvSpPr>
          <p:cNvPr id="35" name="Ovale 34">
            <a:extLst>
              <a:ext uri="{FF2B5EF4-FFF2-40B4-BE49-F238E27FC236}">
                <a16:creationId xmlns:a16="http://schemas.microsoft.com/office/drawing/2014/main" id="{72B4CBED-64DB-8C19-AF9E-E5E4FB75C9FA}"/>
              </a:ext>
            </a:extLst>
          </p:cNvPr>
          <p:cNvSpPr>
            <a:spLocks noChangeAspect="1"/>
          </p:cNvSpPr>
          <p:nvPr/>
        </p:nvSpPr>
        <p:spPr>
          <a:xfrm>
            <a:off x="666283" y="4089401"/>
            <a:ext cx="668338" cy="668336"/>
          </a:xfrm>
          <a:prstGeom prst="ellipse">
            <a:avLst/>
          </a:prstGeom>
          <a:ln w="19050">
            <a:solidFill>
              <a:schemeClr val="accent3">
                <a:alpha val="84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s-es" sz="2000" noProof="0" dirty="0">
              <a:solidFill>
                <a:schemeClr val="tx1"/>
              </a:solidFill>
            </a:endParaRPr>
          </a:p>
        </p:txBody>
      </p:sp>
      <p:pic>
        <p:nvPicPr>
          <p:cNvPr id="36" name="Picture 8">
            <a:extLst>
              <a:ext uri="{FF2B5EF4-FFF2-40B4-BE49-F238E27FC236}">
                <a16:creationId xmlns:a16="http://schemas.microsoft.com/office/drawing/2014/main" id="{66F63FC7-2467-3C43-6F4D-0D9F9662A247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47501" y="3594726"/>
            <a:ext cx="1170000" cy="1170000"/>
          </a:xfrm>
          <a:prstGeom prst="ellipse">
            <a:avLst/>
          </a:prstGeom>
          <a:ln w="12700">
            <a:noFill/>
            <a:prstDash val="solid"/>
          </a:ln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1597660C-410E-787E-4908-2E3826E1FCC0}"/>
              </a:ext>
            </a:extLst>
          </p:cNvPr>
          <p:cNvSpPr/>
          <p:nvPr/>
        </p:nvSpPr>
        <p:spPr>
          <a:xfrm>
            <a:off x="6105089" y="4013200"/>
            <a:ext cx="752912" cy="1260290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alt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39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3C8C8D-4872-D2B6-0106-61E462C2B8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2EEAF0B-CD1C-0919-250E-4DAB7505A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31" imgH="232" progId="TCLayout.ActiveDocument.1">
                  <p:embed/>
                </p:oleObj>
              </mc:Choice>
              <mc:Fallback>
                <p:oleObj name="Diapositiva think-cell" r:id="rId3" imgW="231" imgH="23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EEAF0B-CD1C-0919-250E-4DAB7505A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egnaposto contenuto 7">
            <a:extLst>
              <a:ext uri="{FF2B5EF4-FFF2-40B4-BE49-F238E27FC236}">
                <a16:creationId xmlns:a16="http://schemas.microsoft.com/office/drawing/2014/main" id="{57D382CC-90A7-6982-7A8B-9C09B341F571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>
                <a:latin typeface="+mj-lt"/>
                <a:ea typeface="+mj-lt"/>
                <a:cs typeface="+mj-lt"/>
              </a:rPr>
              <a:t>Filtro de lodo 100 µm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>
                <a:solidFill>
                  <a:schemeClr val="bg2">
                    <a:lumMod val="75000"/>
                  </a:schemeClr>
                </a:solidFill>
              </a:rPr>
              <a:t>Número de referencia: Z8 17825</a:t>
            </a:r>
            <a:endParaRPr lang="es-es">
              <a:solidFill>
                <a:schemeClr val="bg2">
                  <a:lumMod val="75000"/>
                </a:schemeClr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aptura</a:t>
            </a:r>
            <a:r>
              <a:rPr lang="es-es" b="0" i="0" u="none" baseline="0"/>
              <a:t> incluso el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odo</a:t>
            </a:r>
            <a:r>
              <a:rPr lang="es-es" b="0" i="0" u="none" baseline="0"/>
              <a:t> metálico más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ino</a:t>
            </a:r>
            <a:r>
              <a:rPr lang="es-es" b="0" i="0" u="none" baseline="0"/>
              <a:t> dentro de la cesta de virutas, garantizando un aceite más limpio antes de ser devuelto a la máquina.</a:t>
            </a:r>
            <a:endParaRPr lang="es-es" noProof="0" dirty="0">
              <a:latin typeface="+mj-lt"/>
            </a:endParaRPr>
          </a:p>
          <a:p>
            <a:pPr marL="0" indent="0" algn="l" rtl="0">
              <a:buNone/>
            </a:pPr>
            <a:endParaRPr lang="es-es" noProof="0" dirty="0"/>
          </a:p>
        </p:txBody>
      </p:sp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48A3FC0A-D47B-6D7D-56F0-27B5B97A3AF4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>
                <a:latin typeface="+mj-lt"/>
                <a:ea typeface="Roboto Medium" panose="02000000000000000000" pitchFamily="2" charset="0"/>
              </a:rPr>
              <a:t>Cesta de accesorios OIL230</a:t>
            </a:r>
            <a:endParaRPr lang="es-es" noProof="0" dirty="0">
              <a:latin typeface="+mj-lt"/>
              <a:ea typeface="Roboto Medium" panose="02000000000000000000" pitchFamily="2" charset="0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>
                <a:solidFill>
                  <a:schemeClr val="bg2">
                    <a:lumMod val="75000"/>
                  </a:schemeClr>
                </a:solidFill>
              </a:rPr>
              <a:t>Número de referencia: 4089101315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s-es" b="0" i="0" u="none" baseline="0"/>
              <a:t>Cesta integrada diseñada para máquinas sin bomba.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antiene los</a:t>
            </a:r>
            <a:r>
              <a:rPr lang="es-es" b="0" i="0" u="none" baseline="0"/>
              <a:t>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ccesorios</a:t>
            </a:r>
            <a:r>
              <a:rPr lang="es-es" b="0" i="0" u="none" baseline="0"/>
              <a:t>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organizados</a:t>
            </a:r>
            <a:r>
              <a:rPr lang="es-es" b="0" i="0" u="none" baseline="0"/>
              <a:t> y siempre al alcance, a la vez que mantiene la máquina compacta y ordenada.</a:t>
            </a:r>
          </a:p>
          <a:p>
            <a:pPr marL="0" indent="0" algn="l" rtl="0">
              <a:buNone/>
            </a:pPr>
            <a:endParaRPr lang="es-es" noProof="0" dirty="0"/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8D9A44C1-B5A5-1C74-6690-722049F1223B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>
                <a:latin typeface="+mj-lt"/>
                <a:ea typeface="+mj-lt"/>
                <a:cs typeface="+mj-lt"/>
              </a:rPr>
              <a:t>Cesta de accesorios OIL230 E</a:t>
            </a:r>
            <a:endParaRPr lang="es-es" noProof="0" dirty="0">
              <a:latin typeface="+mj-lt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b="0" i="0" u="none" baseline="0">
                <a:solidFill>
                  <a:schemeClr val="bg2">
                    <a:lumMod val="75000"/>
                  </a:schemeClr>
                </a:solidFill>
              </a:rPr>
              <a:t>Número de referencia: 4089101344</a:t>
            </a:r>
            <a:endParaRPr lang="es-es">
              <a:solidFill>
                <a:schemeClr val="bg2">
                  <a:lumMod val="75000"/>
                </a:schemeClr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s-es" b="0" i="0" u="none" baseline="0"/>
              <a:t>A medida para modelos equipados con bomba. Proporciona un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lmacenamiento</a:t>
            </a:r>
            <a:r>
              <a:rPr lang="es-es" b="0" i="0" u="none" baseline="0"/>
              <a:t>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specífico</a:t>
            </a:r>
            <a:r>
              <a:rPr lang="es-es" b="0" i="0" u="none" baseline="0"/>
              <a:t> de </a:t>
            </a:r>
            <a:r>
              <a:rPr lang="es-es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ccesorios</a:t>
            </a:r>
            <a:r>
              <a:rPr lang="es-es" b="0" i="0" u="none" baseline="0"/>
              <a:t> sin interferir con el sistema de la bomba, lo que garantiza una configuración ordenada y ergonómica.</a:t>
            </a:r>
          </a:p>
          <a:p>
            <a:pPr marL="0" indent="0" algn="l" rtl="0">
              <a:buNone/>
            </a:pPr>
            <a:endParaRPr lang="es-es" noProof="0" dirty="0"/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3DFEC872-163E-3CD9-3B69-0AB3F20CC22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3F79B788-A103-1109-2998-9856973231E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2</a:t>
            </a:fld>
            <a:endParaRPr lang="es-es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20D6136-0F58-CCA6-DF00-AA39BFC753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Un juego completo para satisfacer todas las necesidades de limpieza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364D39F0-AC36-B1C7-2B91-C7E0053E5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/>
              <a:t>Accesorios específicos</a:t>
            </a:r>
          </a:p>
        </p:txBody>
      </p:sp>
      <p:pic>
        <p:nvPicPr>
          <p:cNvPr id="21" name="Immagine 20">
            <a:extLst>
              <a:ext uri="{FF2B5EF4-FFF2-40B4-BE49-F238E27FC236}">
                <a16:creationId xmlns:a16="http://schemas.microsoft.com/office/drawing/2014/main" id="{98E83ACB-C914-026E-E62A-49FB28EE9D5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427" r="-18430"/>
          <a:stretch>
            <a:fillRect/>
          </a:stretch>
        </p:blipFill>
        <p:spPr>
          <a:xfrm>
            <a:off x="4316412" y="3894346"/>
            <a:ext cx="3559175" cy="2236946"/>
          </a:xfrm>
          <a:prstGeom prst="rect">
            <a:avLst/>
          </a:prstGeom>
        </p:spPr>
      </p:pic>
      <p:pic>
        <p:nvPicPr>
          <p:cNvPr id="22" name="Immagine 21">
            <a:extLst>
              <a:ext uri="{FF2B5EF4-FFF2-40B4-BE49-F238E27FC236}">
                <a16:creationId xmlns:a16="http://schemas.microsoft.com/office/drawing/2014/main" id="{DA7A438F-A79D-8615-72BF-55E6A0372B5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769" r="-14387"/>
          <a:stretch>
            <a:fillRect/>
          </a:stretch>
        </p:blipFill>
        <p:spPr>
          <a:xfrm>
            <a:off x="8325509" y="3906369"/>
            <a:ext cx="3214955" cy="222492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7BF7499-3DA8-6BD0-91FB-0FA1D485F685}"/>
              </a:ext>
            </a:extLst>
          </p:cNvPr>
          <p:cNvSpPr/>
          <p:nvPr/>
        </p:nvSpPr>
        <p:spPr>
          <a:xfrm rot="5400000">
            <a:off x="5333464" y="4693138"/>
            <a:ext cx="752912" cy="1260290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altLang="en-US" sz="200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4E1FB26-EA1A-4440-F52C-F55833BCE348}"/>
              </a:ext>
            </a:extLst>
          </p:cNvPr>
          <p:cNvSpPr/>
          <p:nvPr/>
        </p:nvSpPr>
        <p:spPr>
          <a:xfrm rot="5400000">
            <a:off x="9419389" y="3790462"/>
            <a:ext cx="752912" cy="1260290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alt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36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DE5E9E-FC6A-62FA-40FD-F293AC4C7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a 17">
            <a:extLst>
              <a:ext uri="{FF2B5EF4-FFF2-40B4-BE49-F238E27FC236}">
                <a16:creationId xmlns:a16="http://schemas.microsoft.com/office/drawing/2014/main" id="{87CAFB96-2CF0-F32D-1FFF-094A8D4D87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6830358"/>
              </p:ext>
            </p:extLst>
          </p:nvPr>
        </p:nvGraphicFramePr>
        <p:xfrm>
          <a:off x="476253" y="2036347"/>
          <a:ext cx="11233147" cy="307205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24875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4218756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1968557">
                  <a:extLst>
                    <a:ext uri="{9D8B030D-6E8A-4147-A177-3AD203B41FA5}">
                      <a16:colId xmlns:a16="http://schemas.microsoft.com/office/drawing/2014/main" val="2021945108"/>
                    </a:ext>
                  </a:extLst>
                </a:gridCol>
                <a:gridCol w="1898542">
                  <a:extLst>
                    <a:ext uri="{9D8B030D-6E8A-4147-A177-3AD203B41FA5}">
                      <a16:colId xmlns:a16="http://schemas.microsoft.com/office/drawing/2014/main" val="1437176484"/>
                    </a:ext>
                  </a:extLst>
                </a:gridCol>
                <a:gridCol w="1898542">
                  <a:extLst>
                    <a:ext uri="{9D8B030D-6E8A-4147-A177-3AD203B41FA5}">
                      <a16:colId xmlns:a16="http://schemas.microsoft.com/office/drawing/2014/main" val="2569496650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12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  <a:sym typeface=""/>
                        </a:rPr>
                        <a:t>Código de almacé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  <a:sym typeface=""/>
                        </a:rPr>
                        <a:t>Descripció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12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Versión básica</a:t>
                      </a:r>
                      <a:endParaRPr lang="es-es" sz="12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Medium"/>
                        <a:ea typeface="Roboto Medium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12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CB501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12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CB501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s-es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7 24156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s-es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t de limpieza de equipos AC.D50</a:t>
                      </a:r>
                      <a:endParaRPr lang="es-es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IL230 / 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s-e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s-e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s-es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72100240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s-es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nza plana flexible D50 conductora</a:t>
                      </a:r>
                      <a:endParaRPr lang="es-es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IL230 / 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s-e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s-e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43522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s-es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72200890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s-es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ta de conexión reg. D50 fe completa</a:t>
                      </a:r>
                      <a:endParaRPr lang="es-es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IL230 / 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s-e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s-e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s-es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89101346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razadera para pistola de descarg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IL230 / 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s-e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s-e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s-es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81801764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buNone/>
                      </a:pPr>
                      <a:r>
                        <a:rPr lang="es-es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ndeja antigoteo M.OIL230</a:t>
                      </a:r>
                      <a:endParaRPr lang="es-es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IL230 / 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s-e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s-e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s-es" sz="1200" b="0" i="0" u="none" baseline="0" dirty="0"/>
                        <a:t>4089101344</a:t>
                      </a:r>
                      <a:endParaRPr lang="es-es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Cesta de accesorios R.7016 mate M.OIL230</a:t>
                      </a:r>
                      <a:r>
                        <a:rPr lang="es-es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</a:t>
                      </a:r>
                      <a:endParaRPr lang="es-es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s-e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s-e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4201988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4271540-E5ED-A5D5-C01C-3BE3069B0EC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9C73B0-8701-174F-BA7C-37644A90CF1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3</a:t>
            </a:fld>
            <a:endParaRPr lang="es-e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3A68E6-A316-1F63-9674-E0D2935ACF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2599" y="873877"/>
            <a:ext cx="11228023" cy="376456"/>
          </a:xfrm>
        </p:spPr>
        <p:txBody>
          <a:bodyPr/>
          <a:lstStyle/>
          <a:p>
            <a:pPr algn="l" rtl="0"/>
            <a:r>
              <a:rPr lang="es-es" b="0" i="0" u="none" baseline="0"/>
              <a:t>Kits listos para usar para aplicaciones típica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CE13F5E-E359-6FE7-E8B7-1FD4535DE3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s-es" b="1" i="0" u="none" baseline="0" dirty="0"/>
              <a:t>Versiones combos</a:t>
            </a:r>
            <a:endParaRPr lang="es-es" noProof="0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F0708C68-74E7-98BC-6529-738289439574}"/>
              </a:ext>
            </a:extLst>
          </p:cNvPr>
          <p:cNvSpPr txBox="1"/>
          <p:nvPr/>
        </p:nvSpPr>
        <p:spPr>
          <a:xfrm>
            <a:off x="482600" y="1409701"/>
            <a:ext cx="8192478" cy="533667"/>
          </a:xfrm>
          <a:prstGeom prst="rect">
            <a:avLst/>
          </a:prstGeom>
          <a:noFill/>
        </p:spPr>
        <p:txBody>
          <a:bodyPr wrap="square" lIns="0" tIns="0" rIns="0" bIns="3600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  <a:buNone/>
            </a:pPr>
            <a:r>
              <a:rPr lang="es-es" sz="1400" b="0" i="0" u="none" baseline="0"/>
              <a:t>Cada combinación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incluye</a:t>
            </a:r>
            <a:r>
              <a:rPr lang="es-es" sz="1400" b="0" i="0" u="none" baseline="0"/>
              <a:t> la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áquina</a:t>
            </a:r>
            <a:r>
              <a:rPr lang="es-es" sz="1400" b="0" i="0" u="none" baseline="0"/>
              <a:t>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ás</a:t>
            </a:r>
            <a:r>
              <a:rPr lang="es-es" sz="1400" b="0" i="0" u="none" baseline="0"/>
              <a:t>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ccesorios esenciales, </a:t>
            </a:r>
            <a:r>
              <a:rPr lang="es-es" sz="1400" b="0" i="0" u="none" baseline="0"/>
              <a:t>con lo que el OIL230 está inmediatamente listo para las tareas habituales de limpieza y recuperación.</a:t>
            </a:r>
          </a:p>
        </p:txBody>
      </p:sp>
    </p:spTree>
    <p:extLst>
      <p:ext uri="{BB962C8B-B14F-4D97-AF65-F5344CB8AC3E}">
        <p14:creationId xmlns:p14="http://schemas.microsoft.com/office/powerpoint/2010/main" val="1902197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7A83F0-52E4-04E2-60DB-CA43B7C493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a 17">
            <a:extLst>
              <a:ext uri="{FF2B5EF4-FFF2-40B4-BE49-F238E27FC236}">
                <a16:creationId xmlns:a16="http://schemas.microsoft.com/office/drawing/2014/main" id="{8357BAA2-4192-B424-C7B1-EA1710C06A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0469208"/>
              </p:ext>
            </p:extLst>
          </p:nvPr>
        </p:nvGraphicFramePr>
        <p:xfrm>
          <a:off x="475521" y="1817449"/>
          <a:ext cx="5504842" cy="4558320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1076842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62800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47071528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Código de almacé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Accesor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Grupo de accesorio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7240019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antiaceite de acc D50 mach + suelo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s de accesorios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415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limpieza de equipos AC.D50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s de accesorios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2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mpuñadura D50 cromada PLT. completa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ubo de extensión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2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mpuñadura D50 cromada PLT. completa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ubo de extensión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8 1782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filtro de bolsa para barro D460 100 micras eco-aceite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iltr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7210024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anza plana flexible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quill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4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xtremo cónico D50/20 completo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quill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604346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1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ubo cónico D50 goma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quill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527621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7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anza plana curvada D50 fe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quill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13864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2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anza plana D50 zinc plt.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quill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844107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2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anza plana D50/40 zinc PLT.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quill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3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quilla gris de NBR D50 120 mm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quill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6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spirador líq. D50 mm500 fe completo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quill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spirador líq. D50 mm400 fe completo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quill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3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spirador de raspado D50 fe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quill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1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esta de accesorios R.7016 mate M.OIL230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ció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esta de accesorios R.7016 mate m.OIL230 E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ció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25139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B45DC6D-1751-C2B2-71FD-BFB089E22C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55E065-5674-0697-0A37-F33A598BEEC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4</a:t>
            </a:fld>
            <a:endParaRPr lang="es-e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F6F6E7-0DEF-ABBB-C27C-8F230C5450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 dirty="0"/>
              <a:t>Seleccionado para aplicaciones exigentes de </a:t>
            </a:r>
            <a:r>
              <a:rPr lang="es-es" dirty="0"/>
              <a:t>l</a:t>
            </a:r>
            <a:r>
              <a:rPr lang="es-ES" dirty="0"/>
              <a:t>í</a:t>
            </a:r>
            <a:r>
              <a:rPr lang="es-es" dirty="0"/>
              <a:t>quidos refrigerantes</a:t>
            </a:r>
            <a:r>
              <a:rPr lang="es-es" b="0" i="0" u="none" baseline="0" dirty="0"/>
              <a:t> y viruta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A3CA088-7618-AF13-7F53-40E118560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521" y="501806"/>
            <a:ext cx="11233150" cy="388013"/>
          </a:xfrm>
        </p:spPr>
        <p:txBody>
          <a:bodyPr/>
          <a:lstStyle/>
          <a:p>
            <a:pPr algn="l" rtl="0"/>
            <a:r>
              <a:rPr lang="es-es" b="1" i="0" u="none" baseline="0"/>
              <a:t>Accesorios</a:t>
            </a:r>
          </a:p>
        </p:txBody>
      </p:sp>
      <p:graphicFrame>
        <p:nvGraphicFramePr>
          <p:cNvPr id="9" name="Tabella 17">
            <a:extLst>
              <a:ext uri="{FF2B5EF4-FFF2-40B4-BE49-F238E27FC236}">
                <a16:creationId xmlns:a16="http://schemas.microsoft.com/office/drawing/2014/main" id="{569B7BBC-4D4B-D882-C57B-B9519BCDA8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8584711"/>
              </p:ext>
            </p:extLst>
          </p:nvPr>
        </p:nvGraphicFramePr>
        <p:xfrm>
          <a:off x="6092096" y="1824206"/>
          <a:ext cx="5504841" cy="4608306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1076841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62800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47071528"/>
                    </a:ext>
                  </a:extLst>
                </a:gridCol>
              </a:tblGrid>
              <a:tr h="250752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Código de almacé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Accesor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Grupo de accesorio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180176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andeja antigoteo M.OIL230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ció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5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dispositivo de parada de virutas mecánicas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ció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5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dispositivo de parada de virutas mecánicas (inox)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ció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4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brazadera para pistola de descarga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ció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722008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nector de tubo completo D50+reg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aspiración y conexión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6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aire D50 MT3+manguitos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aspiración y conexión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36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aire D50 MT5+manguitos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aspiración y conexión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6043469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1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nexión doblada D50 fe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aspiración y conexión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5276212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0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ubo de conexión D50 fe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aspiración y conexión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138644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298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poliuretano D50 3 m + manguitos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aspiración y conexión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8441072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36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poliuretano D50 5 m + manguitos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aspiración y conexión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0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ierro reductor D70/50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aspiración y conexión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6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gulación del reductor D70/50 completa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aspiración y conexión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400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goma D50 de 3 m con manguitos integrados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aspiración y conexión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417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goma D50 de 5 m con manguitos integrados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aspiración y conexión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000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ito de goma D50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aspiración y conexión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  <a:tr h="274818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00021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ito D50 componente caucho antiestático atex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ra de aspiración y conexión</a:t>
                      </a:r>
                      <a:endParaRPr lang="es-e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25139"/>
                  </a:ext>
                </a:extLst>
              </a:tr>
            </a:tbl>
          </a:graphicData>
        </a:graphic>
      </p:graphicFrame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35D6701F-FA2B-2C4A-B0C8-808EA88CE254}"/>
              </a:ext>
            </a:extLst>
          </p:cNvPr>
          <p:cNvSpPr txBox="1"/>
          <p:nvPr/>
        </p:nvSpPr>
        <p:spPr>
          <a:xfrm>
            <a:off x="482600" y="1423382"/>
            <a:ext cx="9870242" cy="405683"/>
          </a:xfrm>
          <a:prstGeom prst="rect">
            <a:avLst/>
          </a:prstGeom>
          <a:noFill/>
        </p:spPr>
        <p:txBody>
          <a:bodyPr wrap="square" lIns="0" tIns="0" rIns="0" bIns="36000">
            <a:spAutoFit/>
          </a:bodyPr>
          <a:lstStyle/>
          <a:p>
            <a:pPr algn="l" rtl="0"/>
            <a:r>
              <a:rPr lang="es-es" sz="1200" b="0" i="0" u="none" baseline="0" dirty="0"/>
              <a:t>Una lista seleccionada de los accesorios más relevantes y ampliamente utilizados, optimizados para entornos exigentes con </a:t>
            </a:r>
            <a:r>
              <a:rPr lang="es-es" sz="1200" dirty="0"/>
              <a:t>l</a:t>
            </a:r>
            <a:r>
              <a:rPr lang="es-ES" sz="1200" dirty="0"/>
              <a:t>í</a:t>
            </a:r>
            <a:r>
              <a:rPr lang="es-es" sz="1200" dirty="0"/>
              <a:t>quidos refrigerantes</a:t>
            </a:r>
            <a:r>
              <a:rPr lang="es-es" sz="1200" b="0" i="0" u="none" baseline="0" dirty="0"/>
              <a:t>, virutas afiladas y residuos abrasivos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0F72FC-3B73-1B84-C660-A93673D4F5A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6138" y="943195"/>
            <a:ext cx="1600341" cy="1067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69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6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Especificaciones técnicas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5</a:t>
            </a:fld>
            <a:endParaRPr lang="es-es" noProof="0" dirty="0"/>
          </a:p>
        </p:txBody>
      </p:sp>
    </p:spTree>
    <p:extLst>
      <p:ext uri="{BB962C8B-B14F-4D97-AF65-F5344CB8AC3E}">
        <p14:creationId xmlns:p14="http://schemas.microsoft.com/office/powerpoint/2010/main" val="117009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F71301-0A42-F84B-2468-E3FFA38E3E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9EA75C3-97D4-C40A-9316-0B0DDDBBA5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EA75C3-97D4-C40A-9316-0B0DDDBBA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0C9C0A4-1C56-9B83-FD64-8212E6D0F04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5799500" cy="153888"/>
          </a:xfrm>
        </p:spPr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AC4CF3-9FFB-8695-341C-1D9E4DE1A49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6</a:t>
            </a:fld>
            <a:endParaRPr lang="es-es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9E223D4-F21A-D98C-E7F3-1F9EE0512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/>
              <a:t>Información técnica: Versión UE n.º 1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D5D343B2-AC54-0C4D-546D-5D396754E14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86819635"/>
              </p:ext>
            </p:extLst>
          </p:nvPr>
        </p:nvGraphicFramePr>
        <p:xfrm>
          <a:off x="482598" y="1349000"/>
          <a:ext cx="11226801" cy="526823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82209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2211148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2211148">
                  <a:extLst>
                    <a:ext uri="{9D8B030D-6E8A-4147-A177-3AD203B41FA5}">
                      <a16:colId xmlns:a16="http://schemas.microsoft.com/office/drawing/2014/main" val="286847681"/>
                    </a:ext>
                  </a:extLst>
                </a:gridCol>
                <a:gridCol w="2211148">
                  <a:extLst>
                    <a:ext uri="{9D8B030D-6E8A-4147-A177-3AD203B41FA5}">
                      <a16:colId xmlns:a16="http://schemas.microsoft.com/office/drawing/2014/main" val="1817741291"/>
                    </a:ext>
                  </a:extLst>
                </a:gridCol>
                <a:gridCol w="2211148">
                  <a:extLst>
                    <a:ext uri="{9D8B030D-6E8A-4147-A177-3AD203B41FA5}">
                      <a16:colId xmlns:a16="http://schemas.microsoft.com/office/drawing/2014/main" val="2465141872"/>
                    </a:ext>
                  </a:extLst>
                </a:gridCol>
              </a:tblGrid>
              <a:tr h="205200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Descripción principal</a:t>
                      </a:r>
                    </a:p>
                  </a:txBody>
                  <a:tcPr marL="7200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</a:t>
                      </a:r>
                      <a:endParaRPr lang="es-es" sz="900" b="0" i="0" u="none" strike="noStrike" noProof="0" dirty="0">
                        <a:solidFill>
                          <a:srgbClr val="181717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MSS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L120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407558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nsión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recuencia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otencia nominal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71425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sumo de corriente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34490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ivel de presión acústica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25796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e de aislamiento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30628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e de protección IP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4103"/>
                  </a:ext>
                </a:extLst>
              </a:tr>
              <a:tr h="205199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Max airflow w/o hose</a:t>
                      </a:r>
                      <a:endParaRPr lang="en-US"/>
                    </a:p>
                  </a:txBody>
                  <a:tcPr marL="7200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s-es" sz="9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s-es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s-es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s-es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788210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jo de aire máx. con manguera de 3 m y 50 mm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m</a:t>
                      </a:r>
                      <a:r>
                        <a:rPr lang="es-es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m</a:t>
                      </a:r>
                      <a:r>
                        <a:rPr lang="es-es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m</a:t>
                      </a:r>
                      <a:r>
                        <a:rPr lang="es-es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m</a:t>
                      </a:r>
                      <a:r>
                        <a:rPr lang="es-es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16923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spiración máx.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85739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ensor de nivel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pagado elec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pagado elec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pagado elec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pagado elec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479241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omba de descarga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o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í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í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í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03508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udal de la bomba de descarga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/D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87665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 del contenedor (líquido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29869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 de la cesta para virutas (sólido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19796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ámetro toma de admisión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07830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iltro de neblina de aceite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2147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iones con soportes de manguera (largo x ancho x alto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742 x 130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838 x 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838 x 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838 x 162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00102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iones (L x A x H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624 x 130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624 x 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624 x 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624 x 162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675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so (kg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21352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Recubrimiento plástico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ámara del filtro y contenedo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ámara del filtro y contenedo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ámara del filtro y contenedo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ámara del filtro y contenedo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5113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Ganchos de elevación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42152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brazaderas de manguera</a:t>
                      </a: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122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5040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B2B209-E125-2C9E-C6FA-5CCB1E3A03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E0EF622-B557-B1E9-2277-694E6BCB0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0EF622-B557-B1E9-2277-694E6BCB0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592AC9-E6E6-D96B-A8F9-DBEAF7D258A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5799500" cy="153888"/>
          </a:xfrm>
        </p:spPr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6ABC9D-1032-7C88-FBA0-AE117C37929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7</a:t>
            </a:fld>
            <a:endParaRPr lang="es-es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FED671B-FB05-53D2-DB8C-4F6270B38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/>
              <a:t>Información técnica: Versión UE n.º 2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00FF9B9F-66BF-E6B0-01E9-A9027993DC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181608"/>
              </p:ext>
            </p:extLst>
          </p:nvPr>
        </p:nvGraphicFramePr>
        <p:xfrm>
          <a:off x="478420" y="1349000"/>
          <a:ext cx="11230980" cy="526823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83200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2949260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2949260">
                  <a:extLst>
                    <a:ext uri="{9D8B030D-6E8A-4147-A177-3AD203B41FA5}">
                      <a16:colId xmlns:a16="http://schemas.microsoft.com/office/drawing/2014/main" val="286847681"/>
                    </a:ext>
                  </a:extLst>
                </a:gridCol>
                <a:gridCol w="2949260">
                  <a:extLst>
                    <a:ext uri="{9D8B030D-6E8A-4147-A177-3AD203B41FA5}">
                      <a16:colId xmlns:a16="http://schemas.microsoft.com/office/drawing/2014/main" val="1817741291"/>
                    </a:ext>
                  </a:extLst>
                </a:gridCol>
              </a:tblGrid>
              <a:tr h="205200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s-es" sz="9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Descripción principal</a:t>
                      </a:r>
                    </a:p>
                  </a:txBody>
                  <a:tcPr marL="7200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X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CB5013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CB5014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8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407558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nsión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recuencia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otencia nominal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71425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sumo de corriente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34490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ivel de presión acústica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25796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e de aislamiento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30628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e de protección IP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4103"/>
                  </a:ext>
                </a:extLst>
              </a:tr>
              <a:tr h="20519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Max airflow w/o hose</a:t>
                      </a:r>
                      <a:endParaRPr lang="en-US"/>
                    </a:p>
                  </a:txBody>
                  <a:tcPr marL="7200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s-es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s-ES" sz="900" b="0" i="0" u="none" strike="noStrike" baseline="0" noProof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s-es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s-es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8819803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jo de aire máx. con manguera de 3 m y 50 mm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m</a:t>
                      </a:r>
                      <a:r>
                        <a:rPr lang="es-es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m</a:t>
                      </a:r>
                      <a:r>
                        <a:rPr lang="es-es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m</a:t>
                      </a:r>
                      <a:r>
                        <a:rPr lang="es-es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16923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spiración máx.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85739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ensor de nivel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pagado elec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pagado elec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pagado elec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479241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omba de descarga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í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í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í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03508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udal de la bomba de descarga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87665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 del contenedor (líquido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29869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 de la cesta para virutas (sólido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19796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ámetro toma de admisión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07830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iltro de neblina de aceite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2147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iones con soportes de manguera (largo x ancho x alto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838 x 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838 x 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838 x 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00102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iones (L x A x H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624 x 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624 x 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624 x 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675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so (kg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21352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Recubrimiento plástico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ámara de filtrado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ámara del filtro y contenedo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ámara del filtro y contenedo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5113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Ganchos de elevación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42152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brazaderas de manguera</a:t>
                      </a: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122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259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A76CB1-4BD9-3644-4C9D-25D7CF29D5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4D93DCC-432E-F506-8F95-42E170717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D93DCC-432E-F506-8F95-42E170717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CA0F69B-527A-7176-6680-17B130D7494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5799500" cy="153888"/>
          </a:xfrm>
        </p:spPr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04120F-8947-2233-9171-3A2EB1E9ADE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8</a:t>
            </a:fld>
            <a:endParaRPr lang="es-es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3600FB1-B50F-A88D-1E00-01900D0D3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/>
              <a:t>Información técnica: Versión de enchufe industrial de 16 A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5A97C095-4B93-E175-4CF0-FA2D337DBB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9418620"/>
              </p:ext>
            </p:extLst>
          </p:nvPr>
        </p:nvGraphicFramePr>
        <p:xfrm>
          <a:off x="489100" y="1460760"/>
          <a:ext cx="11220300" cy="526823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83200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2209275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2209275">
                  <a:extLst>
                    <a:ext uri="{9D8B030D-6E8A-4147-A177-3AD203B41FA5}">
                      <a16:colId xmlns:a16="http://schemas.microsoft.com/office/drawing/2014/main" val="286847681"/>
                    </a:ext>
                  </a:extLst>
                </a:gridCol>
                <a:gridCol w="2209275">
                  <a:extLst>
                    <a:ext uri="{9D8B030D-6E8A-4147-A177-3AD203B41FA5}">
                      <a16:colId xmlns:a16="http://schemas.microsoft.com/office/drawing/2014/main" val="1817741291"/>
                    </a:ext>
                  </a:extLst>
                </a:gridCol>
                <a:gridCol w="2209275">
                  <a:extLst>
                    <a:ext uri="{9D8B030D-6E8A-4147-A177-3AD203B41FA5}">
                      <a16:colId xmlns:a16="http://schemas.microsoft.com/office/drawing/2014/main" val="2465141872"/>
                    </a:ext>
                  </a:extLst>
                </a:gridCol>
              </a:tblGrid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Descripción principal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7200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181717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OIL230 E IND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181717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OIL230 IND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181717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OIL230 E IND CB5013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181717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OIL230 E IND CB5014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8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407558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nsión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recuencia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otencia nominal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71425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sumo de corriente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34490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ivel de presión acústica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25796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e de aislamiento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30628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e de protección IP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4103"/>
                  </a:ext>
                </a:extLst>
              </a:tr>
              <a:tr h="20519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Max airflow w/o hose</a:t>
                      </a:r>
                      <a:endParaRPr lang="en-US"/>
                    </a:p>
                  </a:txBody>
                  <a:tcPr marL="7200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s-es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s-es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s-es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s-es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4765650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jo de aire máx. con manguera de 3 m y 50 mm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m</a:t>
                      </a:r>
                      <a:r>
                        <a:rPr lang="es-es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m</a:t>
                      </a:r>
                      <a:r>
                        <a:rPr lang="es-es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m</a:t>
                      </a:r>
                      <a:r>
                        <a:rPr lang="es-es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m</a:t>
                      </a:r>
                      <a:r>
                        <a:rPr lang="es-es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16923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spiración máx.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85739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ensor de nivel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pagado elec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pagado elec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pagado elec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pagado elec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479241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omba de descarga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í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o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í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í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03508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udal de la bomba de descarga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/D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87665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 del contenedor (líquido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29869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 de la cesta para virutas (sólido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19796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ámetro toma de admisión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07830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iltro de neblina de aceite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2147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iones con soportes de manguera (largo x ancho x alto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838 x 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742 x 130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838 x 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838 x 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00102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iones (L x A x H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624 x 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624 x 130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624 x 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624 x 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675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so (kg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21352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Recubrimiento plástico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ámara del filtro y contenedo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ámara del filtro y contenedo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ámara del filtro y contenedo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ámara del filtro y contenedo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5113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Ganchos de elevación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42152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brazaderas de manguera</a:t>
                      </a: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122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1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FB44CD-FA47-0C91-0334-9B8ED11602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A536380-04FA-FF5F-2A14-E80344F52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536380-04FA-FF5F-2A14-E80344F52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4675C4-8011-E43C-5542-23A7A4AA739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5799500" cy="153888"/>
          </a:xfrm>
        </p:spPr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8F42CF5-F2E2-0DD8-20AF-785CD6CEEC9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9</a:t>
            </a:fld>
            <a:endParaRPr lang="es-es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2372F3F-013E-1F85-BD77-6E1E5ED96C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/>
              <a:t>Información técnica: Versión de 2,2 kW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94EF7646-A608-5670-4D1B-314565F32C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7077667"/>
              </p:ext>
            </p:extLst>
          </p:nvPr>
        </p:nvGraphicFramePr>
        <p:xfrm>
          <a:off x="479425" y="1349000"/>
          <a:ext cx="11239227" cy="526823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86584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2950881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2950881">
                  <a:extLst>
                    <a:ext uri="{9D8B030D-6E8A-4147-A177-3AD203B41FA5}">
                      <a16:colId xmlns:a16="http://schemas.microsoft.com/office/drawing/2014/main" val="286847681"/>
                    </a:ext>
                  </a:extLst>
                </a:gridCol>
                <a:gridCol w="2950881">
                  <a:extLst>
                    <a:ext uri="{9D8B030D-6E8A-4147-A177-3AD203B41FA5}">
                      <a16:colId xmlns:a16="http://schemas.microsoft.com/office/drawing/2014/main" val="1817741291"/>
                    </a:ext>
                  </a:extLst>
                </a:gridCol>
              </a:tblGrid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Descripción principal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7200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181717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OIL230 E kW2.2</a:t>
                      </a:r>
                      <a:endParaRPr lang="es-es" sz="900" b="0" i="0" u="none" strike="noStrike" noProof="0" dirty="0">
                        <a:solidFill>
                          <a:srgbClr val="181717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181717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OIL230 E kW2.2 CB5013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181717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OIL230 E kW2.2 CB5014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8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407558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nsión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recuencia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otencia nominal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.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71425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sumo de corriente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.8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.8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.8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34490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ivel de presión acústica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25796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e de aislamiento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30628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e de protección IP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4103"/>
                  </a:ext>
                </a:extLst>
              </a:tr>
              <a:tr h="20519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Max airflow w/o hose</a:t>
                      </a:r>
                      <a:endParaRPr lang="en-US"/>
                    </a:p>
                  </a:txBody>
                  <a:tcPr marL="7200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s-es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s-es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s-es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s-es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919823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jo de aire máx. con manguera de 3 m y 50 mm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m</a:t>
                      </a:r>
                      <a:r>
                        <a:rPr lang="es-es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m</a:t>
                      </a:r>
                      <a:r>
                        <a:rPr lang="es-es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m</a:t>
                      </a:r>
                      <a:r>
                        <a:rPr lang="es-es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16923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spiración máx.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85739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ensor de nivel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pagado elec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pagado elec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pagado elec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479241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omba de descarga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í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í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í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03508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udal de la bomba de descarga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87665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 del contenedor (líquido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29869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 de la cesta para virutas (sólido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19796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ámetro toma de admisión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07830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iltro de neblina de aceite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2147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iones con soportes de manguera (largo x ancho x alto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838 x 1447 (mm)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838 x 1447 (mm)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838 x 1447 (mm)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00102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iones (L x A x H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624 x 1447 (mm)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624 x 1447 (mm)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 x 624 x 1447 (mm)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675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so (kg)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21352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Recubrimiento plástico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ámara del filtro y contenedo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ámara del filtro y contenedo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ámara del filtro y contenedo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5113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Ganchos de elevación</a:t>
                      </a:r>
                      <a:endParaRPr lang="es-es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42152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brazaderas de manguera</a:t>
                      </a: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ándar</a:t>
                      </a:r>
                      <a:endParaRPr lang="es-e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122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725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BE35BF-B631-58E5-D88A-86C7512616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2040216-D9B0-4F16-5B2B-20DE79984899}"/>
              </a:ext>
            </a:extLst>
          </p:cNvPr>
          <p:cNvSpPr/>
          <p:nvPr/>
        </p:nvSpPr>
        <p:spPr>
          <a:xfrm>
            <a:off x="0" y="0"/>
            <a:ext cx="12192000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sz="2000">
              <a:solidFill>
                <a:schemeClr val="tx1"/>
              </a:solidFill>
            </a:endParaRP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EECA1B4-9BBD-8681-1AEF-45BEA70462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31" imgH="232" progId="TCLayout.ActiveDocument.1">
                  <p:embed/>
                </p:oleObj>
              </mc:Choice>
              <mc:Fallback>
                <p:oleObj name="Diapositiva think-cell" r:id="rId4" imgW="231" imgH="23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CA1B4-9BBD-8681-1AEF-45BEA7046259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D6E00A45-4FDC-0BC3-CF80-084584378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095500" y="1412875"/>
            <a:ext cx="8001000" cy="4860925"/>
          </a:xfrm>
        </p:spPr>
        <p:txBody>
          <a:bodyPr bIns="457200" anchor="ctr" anchorCtr="0"/>
          <a:lstStyle/>
          <a:p>
            <a:pPr marL="0" indent="0" algn="ctr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s-es" sz="2000" b="0" i="0" u="none" baseline="0" dirty="0"/>
              <a:t>El </a:t>
            </a:r>
            <a:r>
              <a:rPr lang="es-es" sz="2000" b="0" i="0" u="none" baseline="0" dirty="0" err="1"/>
              <a:t>Nilfisk</a:t>
            </a:r>
            <a:r>
              <a:rPr lang="es-es" sz="2000" b="0" i="0" u="none" baseline="0" dirty="0"/>
              <a:t> OIL230 es un aspirador industrial extremadamente </a:t>
            </a:r>
            <a:r>
              <a:rPr lang="es-es" sz="2000" b="0" i="0" u="none" baseline="0" dirty="0">
                <a:latin typeface="+mj-lt"/>
                <a:ea typeface="+mj-lt"/>
                <a:cs typeface="+mj-lt"/>
              </a:rPr>
              <a:t>duradero, móvil y fácil de usar </a:t>
            </a:r>
            <a:r>
              <a:rPr lang="es-es" sz="2000" b="0" i="0" u="none" baseline="0" dirty="0"/>
              <a:t>que ayuda a las empresas metalúrgicas a lograr una </a:t>
            </a:r>
            <a:r>
              <a:rPr lang="es-es" sz="2000" b="0" i="0" u="none" baseline="0" dirty="0">
                <a:latin typeface="+mj-lt"/>
                <a:ea typeface="+mj-lt"/>
                <a:cs typeface="+mj-lt"/>
              </a:rPr>
              <a:t>productividad</a:t>
            </a:r>
            <a:r>
              <a:rPr lang="es-es" sz="2000" b="1" i="0" u="none" baseline="0" dirty="0"/>
              <a:t> </a:t>
            </a:r>
            <a:r>
              <a:rPr lang="es-es" sz="2000" b="0" i="0" u="none" baseline="0" dirty="0">
                <a:latin typeface="+mj-lt"/>
                <a:ea typeface="+mj-lt"/>
                <a:cs typeface="+mj-lt"/>
              </a:rPr>
              <a:t>inigualable</a:t>
            </a:r>
            <a:r>
              <a:rPr lang="es-es" sz="2000" b="0" i="0" u="none" baseline="0" dirty="0"/>
              <a:t> en todo el proceso de recuperación de líquidos y separación de virutas. Permite </a:t>
            </a:r>
            <a:r>
              <a:rPr lang="es-es" sz="2000" b="0" i="0" u="none" baseline="0" dirty="0">
                <a:latin typeface="+mj-lt"/>
                <a:ea typeface="+mj-lt"/>
                <a:cs typeface="+mj-lt"/>
              </a:rPr>
              <a:t>una</a:t>
            </a:r>
            <a:r>
              <a:rPr lang="es-es" sz="2000" b="1" i="0" u="none" baseline="0" dirty="0"/>
              <a:t> </a:t>
            </a:r>
            <a:r>
              <a:rPr lang="es-es" sz="2000" b="0" i="0" u="none" baseline="0" dirty="0">
                <a:latin typeface="+mj-lt"/>
                <a:ea typeface="+mj-lt"/>
                <a:cs typeface="+mj-lt"/>
              </a:rPr>
              <a:t>limpieza</a:t>
            </a:r>
            <a:r>
              <a:rPr lang="es-es" sz="2000" b="0" i="0" u="none" baseline="0" dirty="0"/>
              <a:t> continua</a:t>
            </a:r>
            <a:r>
              <a:rPr lang="es-es" sz="2000" b="1" i="0" u="none" baseline="0" dirty="0"/>
              <a:t> </a:t>
            </a:r>
            <a:r>
              <a:rPr lang="es-es" sz="2000" b="0" i="0" u="none" baseline="0" dirty="0"/>
              <a:t> con un tiempo de inactividad mínimo, al tiempo que </a:t>
            </a:r>
            <a:r>
              <a:rPr lang="es-es" sz="2000" b="0" i="0" u="none" baseline="0" dirty="0">
                <a:latin typeface="+mj-lt"/>
                <a:ea typeface="+mj-lt"/>
                <a:cs typeface="+mj-lt"/>
              </a:rPr>
              <a:t>mejora </a:t>
            </a:r>
            <a:r>
              <a:rPr lang="es-es" sz="2000" b="0" i="0" u="none" baseline="0" dirty="0"/>
              <a:t>la</a:t>
            </a:r>
            <a:r>
              <a:rPr lang="es-es" sz="2000" b="1" i="0" u="none" baseline="0" dirty="0"/>
              <a:t> </a:t>
            </a:r>
            <a:r>
              <a:rPr lang="es-es" sz="2000" b="0" i="0" u="none" baseline="0" dirty="0">
                <a:latin typeface="+mj-lt"/>
                <a:ea typeface="+mj-lt"/>
                <a:cs typeface="+mj-lt"/>
              </a:rPr>
              <a:t>seguridad de</a:t>
            </a:r>
            <a:r>
              <a:rPr lang="es-es" sz="2000" b="0" i="0" u="none" baseline="0" dirty="0"/>
              <a:t> los</a:t>
            </a:r>
            <a:r>
              <a:rPr lang="es-es" sz="2000" b="1" i="0" u="none" baseline="0" dirty="0"/>
              <a:t> </a:t>
            </a:r>
            <a:r>
              <a:rPr lang="es-es" sz="2000" b="0" i="0" u="none" baseline="0" dirty="0">
                <a:latin typeface="+mj-lt"/>
                <a:ea typeface="+mj-lt"/>
                <a:cs typeface="+mj-lt"/>
              </a:rPr>
              <a:t>trabajadores</a:t>
            </a:r>
            <a:r>
              <a:rPr lang="es-es" sz="2000" b="0" i="0" u="none" baseline="0" dirty="0"/>
              <a:t>, </a:t>
            </a:r>
            <a:r>
              <a:rPr lang="es-es" sz="2000" b="0" i="0" u="none" baseline="0" dirty="0">
                <a:latin typeface="+mj-lt"/>
                <a:ea typeface="+mj-lt"/>
                <a:cs typeface="+mj-lt"/>
              </a:rPr>
              <a:t>mantiene </a:t>
            </a:r>
            <a:r>
              <a:rPr lang="es-es" sz="2000" b="0" i="0" u="none" baseline="0" dirty="0"/>
              <a:t>la</a:t>
            </a:r>
            <a:r>
              <a:rPr lang="es-es" sz="2000" b="1" i="0" u="none" baseline="0" dirty="0"/>
              <a:t> </a:t>
            </a:r>
            <a:r>
              <a:rPr lang="es-es" sz="2000" b="0" i="0" u="none" baseline="0" dirty="0">
                <a:latin typeface="+mj-lt"/>
                <a:ea typeface="+mj-lt"/>
                <a:cs typeface="+mj-lt"/>
              </a:rPr>
              <a:t>calidad</a:t>
            </a:r>
            <a:r>
              <a:rPr lang="es-es" sz="2000" b="0" i="0" u="none" baseline="0" dirty="0"/>
              <a:t> del</a:t>
            </a:r>
            <a:r>
              <a:rPr lang="es-es" sz="2000" b="1" i="0" u="none" baseline="0" dirty="0"/>
              <a:t> </a:t>
            </a:r>
            <a:r>
              <a:rPr lang="es-es" sz="2000" b="0" i="0" u="none" baseline="0" dirty="0">
                <a:latin typeface="+mj-lt"/>
                <a:ea typeface="+mj-lt"/>
                <a:cs typeface="+mj-lt"/>
              </a:rPr>
              <a:t>producto </a:t>
            </a:r>
            <a:r>
              <a:rPr lang="es-es" sz="2000" b="0" i="0" u="none" baseline="0" dirty="0"/>
              <a:t>y </a:t>
            </a:r>
            <a:r>
              <a:rPr lang="es-es" sz="2000" b="0" i="0" u="none" baseline="0" dirty="0">
                <a:latin typeface="+mj-lt"/>
                <a:ea typeface="+mj-lt"/>
                <a:cs typeface="+mj-lt"/>
              </a:rPr>
              <a:t>maximiza </a:t>
            </a:r>
            <a:r>
              <a:rPr lang="es-es" sz="2000" b="0" i="0" u="none" baseline="0" dirty="0"/>
              <a:t>la</a:t>
            </a:r>
            <a:r>
              <a:rPr lang="es-es" sz="2000" b="1" i="0" u="none" baseline="0" dirty="0"/>
              <a:t> </a:t>
            </a:r>
            <a:r>
              <a:rPr lang="es-es" sz="2000" b="0" i="0" u="none" baseline="0" dirty="0">
                <a:latin typeface="+mj-lt"/>
                <a:ea typeface="+mj-lt"/>
                <a:cs typeface="+mj-lt"/>
              </a:rPr>
              <a:t>reutilización </a:t>
            </a:r>
            <a:r>
              <a:rPr lang="es-es" sz="2000" b="0" i="0" u="none" baseline="0" dirty="0"/>
              <a:t>de los</a:t>
            </a:r>
            <a:r>
              <a:rPr lang="es-es" sz="2000" b="1" i="0" u="none" baseline="0" dirty="0"/>
              <a:t> </a:t>
            </a:r>
            <a:r>
              <a:rPr lang="es-es" sz="2000" b="0" i="0" u="none" baseline="0" dirty="0">
                <a:latin typeface="+mj-lt"/>
                <a:ea typeface="+mj-lt"/>
                <a:cs typeface="+mj-lt"/>
              </a:rPr>
              <a:t>recursos</a:t>
            </a:r>
            <a:r>
              <a:rPr lang="es-es" sz="2000" b="0" i="0" u="none" baseline="0" dirty="0"/>
              <a:t>.</a:t>
            </a:r>
            <a:endParaRPr lang="es-es" sz="2000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A486D1-3CB5-3807-E340-D6EDD16E06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Propuesta de valor</a:t>
            </a:r>
          </a:p>
          <a:p>
            <a:endParaRPr lang="es-es" noProof="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A574192-FC2F-CB01-57E0-E673FB7ED7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9401175" cy="388013"/>
          </a:xfrm>
        </p:spPr>
        <p:txBody>
          <a:bodyPr vert="horz"/>
          <a:lstStyle/>
          <a:p>
            <a:pPr algn="l" rtl="0"/>
            <a:r>
              <a:rPr lang="es-es" b="1" i="0" u="none" baseline="0"/>
              <a:t>OIL230</a:t>
            </a:r>
            <a:endParaRPr lang="es-e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8A00F6-44E5-2F6B-CD54-B258621BC2C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41145A-7BCD-FF30-45A2-32CD51DD634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4</a:t>
            </a:fld>
            <a:endParaRPr lang="es-es" noProof="0" dirty="0"/>
          </a:p>
        </p:txBody>
      </p:sp>
      <p:sp>
        <p:nvSpPr>
          <p:cNvPr id="3" name="TextBox 1">
            <a:extLst>
              <a:ext uri="{FF2B5EF4-FFF2-40B4-BE49-F238E27FC236}">
                <a16:creationId xmlns:a16="http://schemas.microsoft.com/office/drawing/2014/main" id="{B573C03E-65DF-6B1A-5803-3EF5E7CE2F16}"/>
              </a:ext>
            </a:extLst>
          </p:cNvPr>
          <p:cNvSpPr txBox="1"/>
          <p:nvPr/>
        </p:nvSpPr>
        <p:spPr>
          <a:xfrm>
            <a:off x="9260378" y="494490"/>
            <a:ext cx="2447434" cy="20467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 rt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s-es" sz="1200" b="0" i="1" u="none" baseline="0">
                <a:solidFill>
                  <a:schemeClr val="tx2"/>
                </a:solidFill>
                <a:ea typeface="Roboto Black" panose="02000000000000000000" pitchFamily="2" charset="0"/>
                <a:cs typeface="Poppins SemiBold" panose="00000700000000000000" pitchFamily="2" charset="0"/>
              </a:rPr>
              <a:t>Uso interno</a:t>
            </a:r>
          </a:p>
        </p:txBody>
      </p:sp>
    </p:spTree>
    <p:extLst>
      <p:ext uri="{BB962C8B-B14F-4D97-AF65-F5344CB8AC3E}">
        <p14:creationId xmlns:p14="http://schemas.microsoft.com/office/powerpoint/2010/main" val="2898642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F221BDA-443A-5509-59EE-2E7409BBCB1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0157B62-5CF2-298A-72D7-605B3EC57A1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9471A4E-7221-E027-A69F-A1FF03D16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40</a:t>
            </a:fld>
            <a:endParaRPr lang="es-e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22A8CD3-43D0-756F-EBD6-1E76EB11605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sz="1800" dirty="0">
              <a:solidFill>
                <a:schemeClr val="tx1"/>
              </a:solidFill>
            </a:endParaRPr>
          </a:p>
        </p:txBody>
      </p:sp>
      <p:pic>
        <p:nvPicPr>
          <p:cNvPr id="16" name="Picture 15" descr="Text&#10;&#10;Description automatically generated">
            <a:extLst>
              <a:ext uri="{FF2B5EF4-FFF2-40B4-BE49-F238E27FC236}">
                <a16:creationId xmlns:a16="http://schemas.microsoft.com/office/drawing/2014/main" id="{B3B589D2-8991-7692-EDCE-C312A4F6D5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2430" y="2342430"/>
            <a:ext cx="6387141" cy="2173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55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BECE291-7003-8008-295B-6B2ADC597B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87" imgH="288" progId="TCLayout.ActiveDocument.1">
                  <p:embed/>
                </p:oleObj>
              </mc:Choice>
              <mc:Fallback>
                <p:oleObj name="Diapositiva think-cell" r:id="rId4" imgW="287" imgH="28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ECE291-7003-8008-295B-6B2ADC597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Segnaposto immagine 10">
            <a:extLst>
              <a:ext uri="{FF2B5EF4-FFF2-40B4-BE49-F238E27FC236}">
                <a16:creationId xmlns:a16="http://schemas.microsoft.com/office/drawing/2014/main" id="{5470A715-EA60-1CA3-550A-08C63FEF91A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18" t="-7972" r="-27106"/>
          <a:stretch>
            <a:fillRect/>
          </a:stretch>
        </p:blipFill>
        <p:spPr>
          <a:xfrm>
            <a:off x="6205538" y="0"/>
            <a:ext cx="5986461" cy="6284890"/>
          </a:xfrm>
          <a:prstGeom prst="rect">
            <a:avLst/>
          </a:prstGeom>
          <a:solidFill>
            <a:srgbClr val="F0F1F3"/>
          </a:solidFill>
        </p:spPr>
      </p:pic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7BE7E09D-9282-BDDF-6D69-228F65299D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4"/>
            <a:ext cx="4921915" cy="4860926"/>
          </a:xfrm>
        </p:spPr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s-es" b="0" i="0" u="none" baseline="0" dirty="0"/>
              <a:t>El Nilfisk OIL230 es un aspirador industrial duradero, portátil y fácil de usar diseñado para ayudar a las empresas metalúrgicas a aumentar la productividad durante la recuperación de aceite de refrigeraci</a:t>
            </a:r>
            <a:r>
              <a:rPr lang="es-ES" b="0" i="0" u="none" baseline="0" dirty="0"/>
              <a:t>ó</a:t>
            </a:r>
            <a:r>
              <a:rPr lang="es-es" dirty="0"/>
              <a:t>n (fluidos de corte no viscosos) </a:t>
            </a:r>
            <a:r>
              <a:rPr lang="es-es" b="0" i="0" u="none" baseline="0" dirty="0"/>
              <a:t>y la separación de virutas. </a:t>
            </a:r>
            <a:endParaRPr lang="es-es" noProof="0" dirty="0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s-es" b="0" i="0" u="none" baseline="0" dirty="0"/>
              <a:t>Diseñado para seguir avanzando, el OIL230 ofrece un rendimiento ininterrumpido con aspiración y descarga simultáneas, agilizando cada paso de la recuperación de virutas y aceite de refrigeraci</a:t>
            </a:r>
            <a:r>
              <a:rPr lang="es-ES" b="0" i="0" u="none" baseline="0" dirty="0"/>
              <a:t>ó</a:t>
            </a:r>
            <a:r>
              <a:rPr lang="es-es" b="0" i="0" u="none" baseline="0" dirty="0"/>
              <a:t>n.</a:t>
            </a:r>
            <a:endParaRPr lang="es-es" noProof="0" dirty="0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s-es" b="0" i="0" u="none" baseline="0" dirty="0"/>
              <a:t>Está disponible en versiones estándar y premium para adaptarse a diferentes necesidades.</a:t>
            </a:r>
            <a:endParaRPr lang="es-es" noProof="0" dirty="0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s-es" b="0" i="0" u="none" baseline="0" dirty="0"/>
              <a:t>Al tener un Nilfisk OIL230, los clientes:</a:t>
            </a:r>
          </a:p>
          <a:p>
            <a:pPr marL="198755" indent="-198755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</a:pPr>
            <a:r>
              <a:rPr lang="es-es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umentarán su productividad</a:t>
            </a:r>
            <a:endParaRPr lang="es-es" noProof="0" dirty="0">
              <a:latin typeface="Roboto Medium" panose="02000000000000000000" pitchFamily="2" charset="0"/>
              <a:ea typeface="Roboto Medium" panose="02000000000000000000" pitchFamily="2" charset="0"/>
              <a:cs typeface="Roboto Bold"/>
            </a:endParaRPr>
          </a:p>
          <a:p>
            <a:pPr marL="198755" indent="-198755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</a:pPr>
            <a:r>
              <a:rPr lang="es-es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Bold"/>
              </a:rPr>
              <a:t>Reciclarán recursos valiosos</a:t>
            </a:r>
            <a:endParaRPr lang="es-es" noProof="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198755" indent="-198755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</a:pPr>
            <a:r>
              <a:rPr lang="es-es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Trabajarán de forma segura y cómoda</a:t>
            </a:r>
            <a:endParaRPr lang="es-es" noProof="0" dirty="0">
              <a:latin typeface="Roboto Medium" panose="02000000000000000000" pitchFamily="2" charset="0"/>
              <a:ea typeface="Roboto Medium" panose="02000000000000000000" pitchFamily="2" charset="0"/>
              <a:cs typeface="Roboto Bold"/>
            </a:endParaRPr>
          </a:p>
          <a:p>
            <a:pPr marL="198755" indent="-198755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</a:pPr>
            <a:r>
              <a:rPr lang="es-es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Garantizarán la calidad del producto</a:t>
            </a:r>
            <a:endParaRPr lang="es-es" noProof="0" dirty="0">
              <a:latin typeface="Roboto Medium" panose="02000000000000000000" pitchFamily="2" charset="0"/>
              <a:ea typeface="Roboto Medium" panose="02000000000000000000" pitchFamily="2" charset="0"/>
              <a:cs typeface="Roboto Bold"/>
            </a:endParaRP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534BA0C8-2B88-3ECF-AD9F-8F33C071956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5061663" cy="153888"/>
          </a:xfrm>
        </p:spPr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EDCD1D9E-61DF-C6D8-D09A-2E9E3BAF8D5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5</a:t>
            </a:fld>
            <a:endParaRPr lang="es-es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87511F4D-091A-D5EA-3481-512E07AE8B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 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7B8C5DED-08B7-C2AE-3585-5619CDE0B3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/>
              <a:t>Presentación del producto</a:t>
            </a:r>
            <a:endParaRPr lang="es-es" baseline="30000" noProof="0" dirty="0"/>
          </a:p>
        </p:txBody>
      </p:sp>
    </p:spTree>
    <p:extLst>
      <p:ext uri="{BB962C8B-B14F-4D97-AF65-F5344CB8AC3E}">
        <p14:creationId xmlns:p14="http://schemas.microsoft.com/office/powerpoint/2010/main" val="705182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369BEB2-8AFE-E1A4-007A-E4DC8CFC05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69BEB2-8AFE-E1A4-007A-E4DC8CFC0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7E98A94A-6FDA-8AD8-703D-069F8A1420C2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 lIns="182880" tIns="548640" bIns="182880">
            <a:normAutofit/>
          </a:bodyPr>
          <a:lstStyle/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s-es" sz="1050" b="0" i="0" u="none" baseline="0" dirty="0"/>
              <a:t>Interfaz de usuario sencilla con un único interruptor que controla todos los modos de funcionamiento (aspiración, descarga o ambos).</a:t>
            </a:r>
            <a:endParaRPr lang="es-es" sz="1050" noProof="0" dirty="0"/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s-es" sz="1050" b="0" i="0" u="none" baseline="0" dirty="0"/>
              <a:t>Reducción de la frustración por tareas repetitivas (no es necesario levantar pesadas tapas, desconectar cables o mangueras).</a:t>
            </a:r>
            <a:endParaRPr lang="es-es" sz="1050" noProof="0" dirty="0"/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s-es" sz="1050" b="0" i="0" u="none" baseline="0" dirty="0"/>
              <a:t>Accesorios, mangueras y cables bien guardados para un lugar de trabajo ordenado y sin peligro de tropiezos.</a:t>
            </a:r>
            <a:endParaRPr lang="es-es" sz="1050" noProof="0" dirty="0"/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s-es" sz="1050" b="0" i="0" u="none" baseline="0" dirty="0"/>
              <a:t>Accesorios dedicados diseñados específicamente para el OIL230 y las aplicaciones de metalurgia.</a:t>
            </a: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s-es" sz="1050" b="0" i="0" u="none" baseline="0" dirty="0"/>
              <a:t>Tamaño compacto y baja altura para facilitar las maniobras e incluso la carga en furgonetas.</a:t>
            </a:r>
            <a:endParaRPr lang="es-es" sz="1050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0485371-8B4B-A6D0-30EF-53E79C45DB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531915"/>
            <a:ext cx="2586038" cy="477223"/>
          </a:xfrm>
        </p:spPr>
        <p:txBody>
          <a:bodyPr lIns="182880" rIns="182880" bIns="109728">
            <a:spAutoFit/>
          </a:bodyPr>
          <a:lstStyle/>
          <a:p>
            <a:pPr algn="l" rtl="0">
              <a:spcBef>
                <a:spcPts val="0"/>
              </a:spcBef>
            </a:pPr>
            <a:r>
              <a:rPr lang="es-es" sz="1200" b="0" i="0" u="none" baseline="0"/>
              <a:t>Facilidad de uso</a:t>
            </a:r>
            <a:endParaRPr lang="es-es" sz="1200" b="0" noProof="0" dirty="0"/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A17939B0-5518-3941-2BA5-C21C0C56471B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 vert="horz" lIns="182880" tIns="548640" rIns="109728" bIns="182880" rtlCol="0" anchor="t">
            <a:noAutofit/>
          </a:bodyPr>
          <a:lstStyle/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s-es" sz="1050" b="0" i="0" u="none" baseline="0">
                <a:ea typeface="Roboto Light"/>
                <a:cs typeface="Roboto Light"/>
              </a:rPr>
              <a:t>Aspiración y descarga simultáneas para un funcionamiento ininterrumpido y una capacidad prácticamente ilimitada.</a:t>
            </a: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s-es" sz="1050" b="0" i="0" u="none" baseline="0">
                <a:ea typeface="Roboto Light"/>
                <a:cs typeface="Roboto Light"/>
              </a:rPr>
              <a:t>Procesa hasta 1000 litros en poco más de 10 minutos.</a:t>
            </a: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s-es" sz="1050" b="0" i="0" u="none" baseline="0">
                <a:ea typeface="Roboto Light"/>
                <a:cs typeface="Roboto Light"/>
              </a:rPr>
              <a:t>Bomba externa debajo del contenedor: autocebado, vaciado más rápido, utilización del depósito completo.</a:t>
            </a:r>
            <a:endParaRPr lang="es-es" sz="1050" noProof="0" dirty="0">
              <a:ea typeface="Roboto Light"/>
              <a:cs typeface="Roboto Light"/>
            </a:endParaRP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s-es" sz="1050" b="0" i="0" u="none" baseline="0">
                <a:ea typeface="Roboto Light"/>
                <a:cs typeface="Roboto Light"/>
              </a:rPr>
              <a:t>Mantiene limpias las máquinas CNC y sus fluidos de corte, prolongando la vida útil de las herramientas y la calidad del mecanizado.</a:t>
            </a:r>
            <a:endParaRPr lang="es-es" sz="1050" noProof="0" dirty="0">
              <a:ea typeface="Roboto Light"/>
              <a:cs typeface="Roboto Light"/>
            </a:endParaRP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s-es" sz="1050" b="0" i="0" u="none" baseline="0">
                <a:ea typeface="Roboto Light"/>
                <a:cs typeface="Roboto Light"/>
              </a:rPr>
              <a:t>El reciclaje continuo del refrigerante reduce las paradas y los costes de sustitución.</a:t>
            </a:r>
          </a:p>
        </p:txBody>
      </p:sp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967B5843-4B2A-280C-F03B-A1E20996324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1795" y="1531915"/>
            <a:ext cx="2586038" cy="477223"/>
          </a:xfrm>
        </p:spPr>
        <p:txBody>
          <a:bodyPr lIns="182880" rIns="182880" bIns="109728">
            <a:spAutoFit/>
          </a:bodyPr>
          <a:lstStyle/>
          <a:p>
            <a:pPr algn="l" rtl="0">
              <a:spcBef>
                <a:spcPts val="0"/>
              </a:spcBef>
            </a:pPr>
            <a:r>
              <a:rPr lang="es-es" sz="1200" b="0" i="0" u="none" baseline="0"/>
              <a:t>Alta productividad</a:t>
            </a:r>
          </a:p>
        </p:txBody>
      </p:sp>
      <p:sp>
        <p:nvSpPr>
          <p:cNvPr id="12" name="Segnaposto contenuto 11">
            <a:extLst>
              <a:ext uri="{FF2B5EF4-FFF2-40B4-BE49-F238E27FC236}">
                <a16:creationId xmlns:a16="http://schemas.microsoft.com/office/drawing/2014/main" id="{8B668A75-2BB9-9382-E64A-DC646D6A4778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 vert="horz" lIns="182880" tIns="548640" rIns="182880" bIns="182880" rtlCol="0" anchor="t">
            <a:normAutofit/>
          </a:bodyPr>
          <a:lstStyle/>
          <a:p>
            <a:pPr marL="201168" marR="0" lvl="0" indent="-201168" algn="l" rtl="0" fontAlgn="auto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s-es" sz="1050" b="0" i="0" u="none" baseline="0" dirty="0"/>
              <a:t>El </a:t>
            </a:r>
            <a:r>
              <a:rPr lang="es-es" sz="1050" dirty="0"/>
              <a:t>sensor </a:t>
            </a:r>
            <a:r>
              <a:rPr lang="es-es" sz="1050" b="0" i="0" u="none" baseline="0" dirty="0"/>
              <a:t> e</a:t>
            </a:r>
            <a:r>
              <a:rPr lang="es-es" sz="1050" dirty="0"/>
              <a:t>lectrónico</a:t>
            </a:r>
            <a:r>
              <a:rPr lang="es-es" sz="1050" b="0" i="0" u="none" baseline="0" dirty="0"/>
              <a:t> del líquido </a:t>
            </a:r>
            <a:br>
              <a:rPr lang="es-es" sz="1050" dirty="0"/>
            </a:br>
            <a:r>
              <a:rPr lang="es-es" sz="1050" b="0" i="0" u="none" baseline="0" dirty="0"/>
              <a:t>evita el desbordamiento (sin flotación mecánica poco fiable).</a:t>
            </a:r>
          </a:p>
          <a:p>
            <a:pPr marL="201168" marR="0" lvl="0" indent="-201168" algn="l" rtl="0" fontAlgn="auto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s-es" sz="1050" b="0" i="0" u="none" baseline="0" dirty="0"/>
              <a:t>Sin inversión del flujo: sin riesgo de descargas accidentales.</a:t>
            </a:r>
          </a:p>
          <a:p>
            <a:pPr marL="201168" marR="0" lvl="0" indent="-201168" algn="l" rtl="0" fontAlgn="auto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s-es" sz="1050" b="0" i="0" u="none" baseline="0" dirty="0"/>
              <a:t>El filtro de neblina de aceite protege tanto a los operarios como a los motores.</a:t>
            </a:r>
          </a:p>
          <a:p>
            <a:pPr marL="201168" marR="0" lvl="0" indent="-201168" algn="l" rtl="0" fontAlgn="auto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s-es" sz="1050" b="0" i="0" u="none" baseline="0" dirty="0"/>
              <a:t>Soluciones de prevención de fugas: almacenamiento vertical de mangueras, bandeja de goteo, entrada sellada y cesta de accesorios sellada.</a:t>
            </a:r>
          </a:p>
          <a:p>
            <a:pPr marL="201168" marR="0" lvl="0" indent="-201168" algn="l" rtl="0" fontAlgn="auto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s-es" sz="1050" b="0" i="0" u="none" baseline="0" dirty="0"/>
              <a:t>Manejo más seguro: sin necesidad de levantar el pesado cabezal del motor ni adoptar una posición incómoda para levantar la cesta de virutas.</a:t>
            </a:r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15DEEA86-5875-11A8-2F05-57C4F30D9E7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4166" y="1531915"/>
            <a:ext cx="2586038" cy="477223"/>
          </a:xfrm>
        </p:spPr>
        <p:txBody>
          <a:bodyPr lIns="182880" rIns="182880" bIns="109728">
            <a:spAutoFit/>
          </a:bodyPr>
          <a:lstStyle/>
          <a:p>
            <a:pPr algn="l" rtl="0">
              <a:spcBef>
                <a:spcPts val="0"/>
              </a:spcBef>
            </a:pPr>
            <a:r>
              <a:rPr lang="es-es" sz="1200" b="0" i="0" u="none" baseline="0"/>
              <a:t>Seguridad y manipulación limpia</a:t>
            </a:r>
          </a:p>
        </p:txBody>
      </p:sp>
      <p:sp>
        <p:nvSpPr>
          <p:cNvPr id="14" name="Segnaposto contenuto 13">
            <a:extLst>
              <a:ext uri="{FF2B5EF4-FFF2-40B4-BE49-F238E27FC236}">
                <a16:creationId xmlns:a16="http://schemas.microsoft.com/office/drawing/2014/main" id="{579ED2A6-B848-AD86-1189-EAF4661CF61C}"/>
              </a:ext>
            </a:extLst>
          </p:cNvPr>
          <p:cNvSpPr>
            <a:spLocks noGrp="1"/>
          </p:cNvSpPr>
          <p:nvPr>
            <p:ph sz="quarter" idx="27"/>
          </p:nvPr>
        </p:nvSpPr>
        <p:spPr/>
        <p:txBody>
          <a:bodyPr lIns="182880" tIns="548640" rIns="182880" bIns="182880">
            <a:normAutofit/>
          </a:bodyPr>
          <a:lstStyle/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s-es" sz="1050" b="0" i="0" u="none" baseline="0"/>
              <a:t>Bomba externa: acceso fácil y limpio sin necesidad de abrir el depósito.</a:t>
            </a:r>
            <a:endParaRPr lang="es-es" sz="1050" noProof="0" dirty="0"/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s-es" sz="1050" b="0" i="0" u="none" baseline="0"/>
              <a:t>Contenedor y cámara de filtrado revestidos: resistentes a las virutas afiladas para una mayor vida útil.</a:t>
            </a:r>
            <a:endParaRPr lang="es-es" sz="1050" noProof="0" dirty="0"/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s-es" sz="1050" b="0" i="0" u="none" baseline="0"/>
              <a:t>Diseñado para el mantenimiento por un solo operario (abrazadera de pistola, cableado ordenado).</a:t>
            </a: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s-es" sz="1050" b="0" i="0" u="none" baseline="0"/>
              <a:t>La cesta extraíble y la bandeja de goteo simplifican la limpieza.</a:t>
            </a: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s-es" sz="1050" b="0" i="0" u="none" baseline="0"/>
              <a:t>Desarrollado a partir de la opinión directa de los operadores para solucionar los puntos débiles conocidos de los modelos más antiguos.</a:t>
            </a:r>
          </a:p>
        </p:txBody>
      </p:sp>
      <p:sp>
        <p:nvSpPr>
          <p:cNvPr id="15" name="Segnaposto testo 14">
            <a:extLst>
              <a:ext uri="{FF2B5EF4-FFF2-40B4-BE49-F238E27FC236}">
                <a16:creationId xmlns:a16="http://schemas.microsoft.com/office/drawing/2014/main" id="{F8253125-46EA-BC77-5A21-7A8EBEF4D8C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26537" y="1531915"/>
            <a:ext cx="2586038" cy="477223"/>
          </a:xfrm>
        </p:spPr>
        <p:txBody>
          <a:bodyPr lIns="182880" rIns="182880" bIns="109728">
            <a:spAutoFit/>
          </a:bodyPr>
          <a:lstStyle/>
          <a:p>
            <a:pPr algn="l" rtl="0">
              <a:spcBef>
                <a:spcPts val="0"/>
              </a:spcBef>
            </a:pPr>
            <a:r>
              <a:rPr lang="es-es" sz="1200" b="0" i="0" u="none" baseline="0"/>
              <a:t>Servicio y mantenimiento </a:t>
            </a:r>
            <a:endParaRPr lang="es-es" sz="1200" b="0" noProof="0" dirty="0"/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47398C0D-FD58-BD97-4101-DC382C64BB10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3B106DA-1C4D-85F4-2951-F99B6941D9D2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6</a:t>
            </a:fld>
            <a:endParaRPr lang="es-es" noProof="0" dirty="0"/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E8A8406D-7BDC-04D7-3401-43C50D6EB29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es-es" b="0" i="0" u="none" baseline="0"/>
              <a:t> </a:t>
            </a:r>
            <a:endParaRPr lang="es-es" noProof="0" dirty="0">
              <a:ea typeface="Roboto Light"/>
              <a:cs typeface="Roboto Light"/>
            </a:endParaRP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ADBE1AF3-140A-9005-6529-F21568223A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/>
              <a:t>Beneficios principales del OIL230</a:t>
            </a:r>
            <a:endParaRPr lang="es-es" noProof="0" dirty="0"/>
          </a:p>
        </p:txBody>
      </p:sp>
      <p:pic>
        <p:nvPicPr>
          <p:cNvPr id="5" name="Graphic 54">
            <a:extLst>
              <a:ext uri="{FF2B5EF4-FFF2-40B4-BE49-F238E27FC236}">
                <a16:creationId xmlns:a16="http://schemas.microsoft.com/office/drawing/2014/main" id="{7AB0ECCA-6098-CB82-2C87-C81BB0A5B7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7584" y="4995965"/>
            <a:ext cx="628650" cy="728663"/>
          </a:xfrm>
          <a:prstGeom prst="rect">
            <a:avLst/>
          </a:prstGeom>
        </p:spPr>
      </p:pic>
      <p:pic>
        <p:nvPicPr>
          <p:cNvPr id="17" name="Graphic 46">
            <a:extLst>
              <a:ext uri="{FF2B5EF4-FFF2-40B4-BE49-F238E27FC236}">
                <a16:creationId xmlns:a16="http://schemas.microsoft.com/office/drawing/2014/main" id="{91F73B98-CFE8-BD98-B411-5A15560284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75766" y="5360296"/>
            <a:ext cx="528638" cy="714375"/>
          </a:xfrm>
          <a:prstGeom prst="rect">
            <a:avLst/>
          </a:prstGeom>
        </p:spPr>
      </p:pic>
      <p:pic>
        <p:nvPicPr>
          <p:cNvPr id="18" name="Graphic 142">
            <a:extLst>
              <a:ext uri="{FF2B5EF4-FFF2-40B4-BE49-F238E27FC236}">
                <a16:creationId xmlns:a16="http://schemas.microsoft.com/office/drawing/2014/main" id="{26631E1E-7ABC-3AD7-269A-7E99B1DB13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86399" y="5134889"/>
            <a:ext cx="714375" cy="671513"/>
          </a:xfrm>
          <a:prstGeom prst="rect">
            <a:avLst/>
          </a:prstGeom>
        </p:spPr>
      </p:pic>
      <p:pic>
        <p:nvPicPr>
          <p:cNvPr id="19" name="Graphic 225">
            <a:extLst>
              <a:ext uri="{FF2B5EF4-FFF2-40B4-BE49-F238E27FC236}">
                <a16:creationId xmlns:a16="http://schemas.microsoft.com/office/drawing/2014/main" id="{AAAEC996-0174-4FD5-213C-03A52722410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70472" y="5250698"/>
            <a:ext cx="733425" cy="73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80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958F63-FB65-B904-326D-5E12FDE9DC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403C04E4-358C-4E5A-4D36-ED0BD3DE597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2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7A0AB7C-2F1F-9A36-780C-F95708ED9D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Uso y aplicación principales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460ABBE-A3E6-5748-67A2-EA04C507C4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5D6F26B-F404-58A9-F92C-F7C1B1E40C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7</a:t>
            </a:fld>
            <a:endParaRPr lang="es-es" noProof="0" dirty="0"/>
          </a:p>
        </p:txBody>
      </p:sp>
    </p:spTree>
    <p:extLst>
      <p:ext uri="{BB962C8B-B14F-4D97-AF65-F5344CB8AC3E}">
        <p14:creationId xmlns:p14="http://schemas.microsoft.com/office/powerpoint/2010/main" val="285340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C249B75-0F43-FD93-DF1A-3BCFE52F9A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2600" y="1412875"/>
            <a:ext cx="6173623" cy="430887"/>
          </a:xfrm>
        </p:spPr>
        <p:txBody>
          <a:bodyPr wrap="square">
            <a:spAutoFit/>
          </a:bodyPr>
          <a:lstStyle/>
          <a:p>
            <a:pPr marL="0" indent="0" algn="l" rtl="0">
              <a:buNone/>
            </a:pPr>
            <a:r>
              <a:rPr lang="es-es" b="0" i="0" u="none" baseline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Nilfisk presenta un aspirador industrial para </a:t>
            </a:r>
            <a:r>
              <a:rPr lang="es-es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fluidos de corte</a:t>
            </a:r>
            <a:r>
              <a:rPr lang="es-es" b="0" i="0" u="none" baseline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y virutas metálicas </a:t>
            </a:r>
            <a:r>
              <a:rPr lang="es-es" b="0" i="0" u="none" baseline="0" dirty="0">
                <a:solidFill>
                  <a:srgbClr val="202124"/>
                </a:solidFill>
                <a:effectLst/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- </a:t>
            </a:r>
            <a:r>
              <a:rPr lang="es-es" b="0" i="0" u="none" baseline="0" dirty="0"/>
              <a:t> </a:t>
            </a:r>
            <a:r>
              <a:rPr lang="es-es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OIL230</a:t>
            </a:r>
            <a:r>
              <a:rPr lang="es-es" b="0" i="0" u="none" baseline="0" dirty="0"/>
              <a:t>:</a:t>
            </a:r>
            <a:endParaRPr lang="es-es" noProof="0" dirty="0">
              <a:latin typeface="Roboto Light" panose="02000000000000000000" pitchFamily="2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547121-8A87-3117-0C5B-D945860B96E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37FD2A-44CE-0338-F626-802229C5DD4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8</a:t>
            </a:fld>
            <a:endParaRPr lang="es-es" noProof="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1D9F04-A4AB-3870-D3FD-D8D5406CED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OIL230</a:t>
            </a:r>
            <a:endParaRPr lang="es-es" noProof="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49AA36B-34AC-C5F1-9420-EFC809F6D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s-es" b="1" i="0" u="none" baseline="0"/>
              <a:t>Uso y aplicación principa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CD5C91A8-18D2-476D-4378-784FEB1A97BB}"/>
              </a:ext>
            </a:extLst>
          </p:cNvPr>
          <p:cNvSpPr txBox="1">
            <a:spLocks/>
          </p:cNvSpPr>
          <p:nvPr/>
        </p:nvSpPr>
        <p:spPr>
          <a:xfrm>
            <a:off x="627966" y="3042054"/>
            <a:ext cx="5978536" cy="344453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</a:pPr>
            <a:r>
              <a:rPr lang="es-es" sz="1200" b="0" i="0" u="none" baseline="0" dirty="0">
                <a:latin typeface="+mj-lt"/>
                <a:ea typeface="SimSun" pitchFamily="2" charset="-122"/>
              </a:rPr>
              <a:t>Principales segmentos de clientes: 	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rincipales</a:t>
            </a:r>
            <a:r>
              <a:rPr lang="es-es" sz="1200" b="0" i="0" u="none" baseline="0" dirty="0"/>
              <a:t>: Industria metalúrgica, usuarios de máquinas CNC, talleres de herramientas y mecánicos.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cundarios:</a:t>
            </a:r>
            <a:r>
              <a:rPr lang="es-es" sz="1200" b="0" i="0" u="none" baseline="0" dirty="0"/>
              <a:t> Proveedores de servicios de mantenimiento o contratistas.</a:t>
            </a:r>
            <a:br>
              <a:rPr lang="es-es" sz="1200" dirty="0"/>
            </a:br>
            <a:endParaRPr lang="es-es" sz="1200" noProof="0" dirty="0">
              <a:ea typeface="SimSun" pitchFamily="2" charset="-122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</a:pPr>
            <a:r>
              <a:rPr lang="es-ES" sz="1200" b="0" i="0" u="none" baseline="0" dirty="0">
                <a:latin typeface="+mj-lt"/>
                <a:ea typeface="SimSun" pitchFamily="2" charset="-122"/>
              </a:rPr>
              <a:t>Principales trabajos para realizar</a:t>
            </a:r>
            <a:r>
              <a:rPr lang="es-es" sz="1200" b="0" i="0" u="none" baseline="0" dirty="0">
                <a:latin typeface="+mj-lt"/>
                <a:ea typeface="SimSun" pitchFamily="2" charset="-122"/>
              </a:rPr>
              <a:t>/aplicaciones: 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cupere refrigerante, virutas y los residuos </a:t>
            </a:r>
            <a:r>
              <a:rPr lang="es-es" sz="1200" b="0" i="0" u="none" baseline="0" dirty="0"/>
              <a:t>de los sumideros y las cámaras CNC para reducir los costes de eliminación y mantener la eficiencia de las máquinas.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ustituya el </a:t>
            </a:r>
            <a:r>
              <a:rPr lang="es-es" sz="120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luido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 de corte rápidamente </a:t>
            </a:r>
            <a:r>
              <a:rPr lang="es-es" sz="1200" b="0" i="0" u="none" baseline="0" dirty="0"/>
              <a:t>mediante descarga y rellenado rápidos, reduciendo el tiempo de inactividad.</a:t>
            </a:r>
            <a:endParaRPr lang="es-es" sz="1200" noProof="0" dirty="0"/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para los sólidos de los líquidos </a:t>
            </a:r>
            <a:r>
              <a:rPr lang="es-es" sz="1200" b="0" i="0" u="none" baseline="0" dirty="0"/>
              <a:t>y permite la</a:t>
            </a:r>
            <a:r>
              <a:rPr lang="es-es" sz="1200" b="1" i="0" u="none" baseline="0" dirty="0"/>
              <a:t>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utilización</a:t>
            </a:r>
            <a:r>
              <a:rPr lang="es-es" sz="1200" b="0" i="0" u="none" baseline="0" dirty="0"/>
              <a:t> del liquido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frigerante</a:t>
            </a:r>
            <a:r>
              <a:rPr lang="es-es" sz="1200" b="0" i="0" u="none" baseline="0" dirty="0"/>
              <a:t>, reduciendo los residuos y los costes operativos.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impieza de las áreas circundantes </a:t>
            </a:r>
            <a:r>
              <a:rPr lang="es-es" sz="1200" b="0" i="0" u="none" baseline="0" dirty="0"/>
              <a:t>alrededor de las máquinas CNC, garantizando un espacio de trabajo seguro y ordenado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3C457CF-01D4-ED9C-BBCB-5161D3119B8A}"/>
              </a:ext>
            </a:extLst>
          </p:cNvPr>
          <p:cNvSpPr txBox="1"/>
          <p:nvPr/>
        </p:nvSpPr>
        <p:spPr>
          <a:xfrm>
            <a:off x="943521" y="1892624"/>
            <a:ext cx="2117631" cy="481937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es-es" sz="1400" b="0" i="0" u="none" baseline="0" dirty="0"/>
              <a:t>Depósito de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70 l</a:t>
            </a:r>
          </a:p>
          <a:p>
            <a:pPr algn="l" rtl="0">
              <a:spcBef>
                <a:spcPct val="20000"/>
              </a:spcBef>
            </a:pPr>
            <a:r>
              <a:rPr lang="es-es" sz="1400" b="0" i="0" u="none" baseline="0" dirty="0">
                <a:solidFill>
                  <a:schemeClr val="tx2"/>
                </a:solidFill>
              </a:rPr>
              <a:t>Recuperación de líquido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8DBDF48-B84B-8450-505A-B4A43B130559}"/>
              </a:ext>
            </a:extLst>
          </p:cNvPr>
          <p:cNvSpPr txBox="1"/>
          <p:nvPr/>
        </p:nvSpPr>
        <p:spPr>
          <a:xfrm>
            <a:off x="943521" y="2574054"/>
            <a:ext cx="2261692" cy="430887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es-es" sz="1400" b="0" i="0" u="none" baseline="0" dirty="0"/>
              <a:t>Cesta para virutas de </a:t>
            </a:r>
            <a:r>
              <a:rPr lang="es-es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30 l</a:t>
            </a:r>
            <a:br>
              <a:rPr lang="es-es" sz="1400" dirty="0"/>
            </a:br>
            <a:r>
              <a:rPr lang="es-es" sz="1400" b="0" i="0" u="none" baseline="0" dirty="0">
                <a:solidFill>
                  <a:schemeClr val="tx2"/>
                </a:solidFill>
              </a:rPr>
              <a:t>Separación de sólido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6E29194-94E2-A910-AA81-77C79F359582}"/>
              </a:ext>
            </a:extLst>
          </p:cNvPr>
          <p:cNvSpPr txBox="1"/>
          <p:nvPr/>
        </p:nvSpPr>
        <p:spPr>
          <a:xfrm>
            <a:off x="3948414" y="1892625"/>
            <a:ext cx="1853386" cy="430887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100 l/min</a:t>
            </a:r>
            <a:br>
              <a:rPr lang="es-es" sz="1400"/>
            </a:br>
            <a:r>
              <a:rPr lang="es-es" sz="1400" b="0" i="0" u="none" baseline="0">
                <a:solidFill>
                  <a:schemeClr val="tx2"/>
                </a:solidFill>
              </a:rPr>
              <a:t>Aspiración y descarga</a:t>
            </a:r>
            <a:endParaRPr lang="es-es" sz="1400" noProof="0" dirty="0">
              <a:solidFill>
                <a:schemeClr val="tx2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7404FCE-2AD4-C19F-C375-3F7849457E93}"/>
              </a:ext>
            </a:extLst>
          </p:cNvPr>
          <p:cNvSpPr txBox="1"/>
          <p:nvPr/>
        </p:nvSpPr>
        <p:spPr>
          <a:xfrm>
            <a:off x="3948414" y="2574054"/>
            <a:ext cx="2182338" cy="473976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es-es" sz="1400" b="0" i="0" u="none" baseline="0"/>
              <a:t>Desconexión </a:t>
            </a:r>
            <a:r>
              <a:rPr lang="es-es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utomática</a:t>
            </a:r>
          </a:p>
          <a:p>
            <a:pPr algn="l" rtl="0">
              <a:spcBef>
                <a:spcPct val="20000"/>
              </a:spcBef>
            </a:pPr>
            <a:r>
              <a:rPr lang="es-es" sz="1400" b="0" i="0" u="none" baseline="0">
                <a:solidFill>
                  <a:schemeClr val="tx2"/>
                </a:solidFill>
              </a:rPr>
              <a:t>Sensor de líquido electrónico</a:t>
            </a:r>
          </a:p>
        </p:txBody>
      </p:sp>
      <p:grpSp>
        <p:nvGrpSpPr>
          <p:cNvPr id="3" name="Group 214">
            <a:extLst>
              <a:ext uri="{FF2B5EF4-FFF2-40B4-BE49-F238E27FC236}">
                <a16:creationId xmlns:a16="http://schemas.microsoft.com/office/drawing/2014/main" id="{A883E8C0-CC1F-B139-7364-4ED69CA507D4}"/>
              </a:ext>
            </a:extLst>
          </p:cNvPr>
          <p:cNvGrpSpPr/>
          <p:nvPr/>
        </p:nvGrpSpPr>
        <p:grpSpPr>
          <a:xfrm>
            <a:off x="475521" y="2555497"/>
            <a:ext cx="468000" cy="468000"/>
            <a:chOff x="7037208" y="3800135"/>
            <a:chExt cx="597389" cy="597389"/>
          </a:xfrm>
          <a:noFill/>
        </p:grpSpPr>
        <p:sp>
          <p:nvSpPr>
            <p:cNvPr id="10" name="Oval 80">
              <a:extLst>
                <a:ext uri="{FF2B5EF4-FFF2-40B4-BE49-F238E27FC236}">
                  <a16:creationId xmlns:a16="http://schemas.microsoft.com/office/drawing/2014/main" id="{B3F0982E-4C1B-B9FA-C17B-7A6FCF939327}"/>
                </a:ext>
              </a:extLst>
            </p:cNvPr>
            <p:cNvSpPr/>
            <p:nvPr/>
          </p:nvSpPr>
          <p:spPr>
            <a:xfrm>
              <a:off x="7037208" y="3800135"/>
              <a:ext cx="597389" cy="597389"/>
            </a:xfrm>
            <a:prstGeom prst="ellipse">
              <a:avLst/>
            </a:prstGeom>
            <a:grp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s-es" sz="20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11" name="Graphic 124">
              <a:extLst>
                <a:ext uri="{FF2B5EF4-FFF2-40B4-BE49-F238E27FC236}">
                  <a16:creationId xmlns:a16="http://schemas.microsoft.com/office/drawing/2014/main" id="{A2A18739-AE9D-9196-91F8-7491F86AA8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205788" y="3945945"/>
              <a:ext cx="260228" cy="305768"/>
            </a:xfrm>
            <a:prstGeom prst="rect">
              <a:avLst/>
            </a:prstGeom>
          </p:spPr>
        </p:pic>
      </p:grpSp>
      <p:grpSp>
        <p:nvGrpSpPr>
          <p:cNvPr id="19" name="Group 16">
            <a:extLst>
              <a:ext uri="{FF2B5EF4-FFF2-40B4-BE49-F238E27FC236}">
                <a16:creationId xmlns:a16="http://schemas.microsoft.com/office/drawing/2014/main" id="{AA4E5513-D6DC-02BA-BA76-EBDD2F366777}"/>
              </a:ext>
            </a:extLst>
          </p:cNvPr>
          <p:cNvGrpSpPr/>
          <p:nvPr/>
        </p:nvGrpSpPr>
        <p:grpSpPr>
          <a:xfrm>
            <a:off x="474048" y="1888005"/>
            <a:ext cx="468000" cy="468000"/>
            <a:chOff x="3763048" y="2125855"/>
            <a:chExt cx="597389" cy="597389"/>
          </a:xfrm>
          <a:noFill/>
        </p:grpSpPr>
        <p:sp>
          <p:nvSpPr>
            <p:cNvPr id="20" name="Oval 26">
              <a:extLst>
                <a:ext uri="{FF2B5EF4-FFF2-40B4-BE49-F238E27FC236}">
                  <a16:creationId xmlns:a16="http://schemas.microsoft.com/office/drawing/2014/main" id="{81B02688-C498-B0F0-00A2-06F2D89378EE}"/>
                </a:ext>
              </a:extLst>
            </p:cNvPr>
            <p:cNvSpPr/>
            <p:nvPr/>
          </p:nvSpPr>
          <p:spPr>
            <a:xfrm>
              <a:off x="3763048" y="2125855"/>
              <a:ext cx="597389" cy="597389"/>
            </a:xfrm>
            <a:prstGeom prst="ellipse">
              <a:avLst/>
            </a:prstGeom>
            <a:grp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s-es" sz="20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21" name="Graphic 106">
              <a:extLst>
                <a:ext uri="{FF2B5EF4-FFF2-40B4-BE49-F238E27FC236}">
                  <a16:creationId xmlns:a16="http://schemas.microsoft.com/office/drawing/2014/main" id="{4BE3CA67-EB9E-0CD1-969D-5B8C5B5CF5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21870" y="2252148"/>
              <a:ext cx="279745" cy="344803"/>
            </a:xfrm>
            <a:prstGeom prst="rect">
              <a:avLst/>
            </a:prstGeom>
          </p:spPr>
        </p:pic>
      </p:grpSp>
      <p:grpSp>
        <p:nvGrpSpPr>
          <p:cNvPr id="22" name="Group 61">
            <a:extLst>
              <a:ext uri="{FF2B5EF4-FFF2-40B4-BE49-F238E27FC236}">
                <a16:creationId xmlns:a16="http://schemas.microsoft.com/office/drawing/2014/main" id="{B8528810-FF3A-E44F-CC5C-55D4DF134C8A}"/>
              </a:ext>
            </a:extLst>
          </p:cNvPr>
          <p:cNvGrpSpPr/>
          <p:nvPr/>
        </p:nvGrpSpPr>
        <p:grpSpPr>
          <a:xfrm>
            <a:off x="3485085" y="1881826"/>
            <a:ext cx="468000" cy="468000"/>
            <a:chOff x="1307428" y="5474414"/>
            <a:chExt cx="597389" cy="597389"/>
          </a:xfrm>
          <a:noFill/>
        </p:grpSpPr>
        <p:sp>
          <p:nvSpPr>
            <p:cNvPr id="23" name="Oval 87">
              <a:extLst>
                <a:ext uri="{FF2B5EF4-FFF2-40B4-BE49-F238E27FC236}">
                  <a16:creationId xmlns:a16="http://schemas.microsoft.com/office/drawing/2014/main" id="{205BB8AE-E52B-0AAF-A0A9-59ADF392ED1E}"/>
                </a:ext>
              </a:extLst>
            </p:cNvPr>
            <p:cNvSpPr/>
            <p:nvPr/>
          </p:nvSpPr>
          <p:spPr>
            <a:xfrm>
              <a:off x="1307428" y="5474414"/>
              <a:ext cx="597389" cy="597389"/>
            </a:xfrm>
            <a:prstGeom prst="ellipse">
              <a:avLst/>
            </a:prstGeom>
            <a:grp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s-es" sz="20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24" name="Graphic 141">
              <a:extLst>
                <a:ext uri="{FF2B5EF4-FFF2-40B4-BE49-F238E27FC236}">
                  <a16:creationId xmlns:a16="http://schemas.microsoft.com/office/drawing/2014/main" id="{CE15E26E-5752-2676-BC5F-D3829892E54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476113" y="5630384"/>
              <a:ext cx="312274" cy="305767"/>
            </a:xfrm>
            <a:prstGeom prst="rect">
              <a:avLst/>
            </a:prstGeom>
          </p:spPr>
        </p:pic>
      </p:grpSp>
      <p:grpSp>
        <p:nvGrpSpPr>
          <p:cNvPr id="25" name="Group 224">
            <a:extLst>
              <a:ext uri="{FF2B5EF4-FFF2-40B4-BE49-F238E27FC236}">
                <a16:creationId xmlns:a16="http://schemas.microsoft.com/office/drawing/2014/main" id="{1310E56F-20A9-EBC1-E528-B69FFDEC5F89}"/>
              </a:ext>
            </a:extLst>
          </p:cNvPr>
          <p:cNvGrpSpPr/>
          <p:nvPr/>
        </p:nvGrpSpPr>
        <p:grpSpPr>
          <a:xfrm>
            <a:off x="3495554" y="2574054"/>
            <a:ext cx="468000" cy="468000"/>
            <a:chOff x="7855748" y="5474414"/>
            <a:chExt cx="597389" cy="597389"/>
          </a:xfrm>
          <a:noFill/>
        </p:grpSpPr>
        <p:sp>
          <p:nvSpPr>
            <p:cNvPr id="26" name="Oval 95">
              <a:extLst>
                <a:ext uri="{FF2B5EF4-FFF2-40B4-BE49-F238E27FC236}">
                  <a16:creationId xmlns:a16="http://schemas.microsoft.com/office/drawing/2014/main" id="{65BED141-2F5E-B69A-4FB2-25492512A3BF}"/>
                </a:ext>
              </a:extLst>
            </p:cNvPr>
            <p:cNvSpPr/>
            <p:nvPr/>
          </p:nvSpPr>
          <p:spPr>
            <a:xfrm>
              <a:off x="7855748" y="5474414"/>
              <a:ext cx="597389" cy="597389"/>
            </a:xfrm>
            <a:prstGeom prst="ellipse">
              <a:avLst/>
            </a:prstGeom>
            <a:grp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s-es" sz="20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28" name="Graphic 189">
              <a:extLst>
                <a:ext uri="{FF2B5EF4-FFF2-40B4-BE49-F238E27FC236}">
                  <a16:creationId xmlns:a16="http://schemas.microsoft.com/office/drawing/2014/main" id="{7F53EFC0-4119-45B7-581E-16A12FFA2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068094" y="5626405"/>
              <a:ext cx="207532" cy="293407"/>
            </a:xfrm>
            <a:prstGeom prst="rect">
              <a:avLst/>
            </a:prstGeom>
          </p:spPr>
        </p:pic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67E768ED-9AFF-B22E-E103-90610A80D08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89062" y="0"/>
            <a:ext cx="5502937" cy="627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95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tangolo 14">
            <a:extLst>
              <a:ext uri="{FF2B5EF4-FFF2-40B4-BE49-F238E27FC236}">
                <a16:creationId xmlns:a16="http://schemas.microsoft.com/office/drawing/2014/main" id="{82D3B3DD-6E48-5AFC-F1DE-7EA8F9473F71}"/>
              </a:ext>
            </a:extLst>
          </p:cNvPr>
          <p:cNvSpPr/>
          <p:nvPr/>
        </p:nvSpPr>
        <p:spPr>
          <a:xfrm>
            <a:off x="8339737" y="0"/>
            <a:ext cx="3852263" cy="62960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sz="2000" noProof="0" dirty="0">
              <a:solidFill>
                <a:schemeClr val="tx1"/>
              </a:solidFill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882CA2-724F-E517-544D-5A8414B2DD1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 fontScale="70000" lnSpcReduction="20000"/>
          </a:bodyPr>
          <a:lstStyle/>
          <a:p>
            <a:pPr algn="l" rtl="0">
              <a:spcAft>
                <a:spcPts val="600"/>
              </a:spcAft>
            </a:pPr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8ACBDC5-4123-58A7-63CD-2517D08D513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fld id="{6C385236-B7BA-4938-9EA6-6DEC8CA653D7}" type="slidenum">
              <a:rPr/>
              <a:pPr>
                <a:spcAft>
                  <a:spcPts val="600"/>
                </a:spcAft>
              </a:pPr>
              <a:t>9</a:t>
            </a:fld>
            <a:endParaRPr lang="es-es" noProof="0" dirty="0"/>
          </a:p>
        </p:txBody>
      </p:sp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73DE8E6A-7F92-A9F6-13F9-F132BE5973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algn="l" rtl="0"/>
            <a:r>
              <a:rPr lang="es-es" b="0" i="0" u="none" baseline="0"/>
              <a:t>… y cómo los resolvemos</a:t>
            </a:r>
          </a:p>
        </p:txBody>
      </p:sp>
      <p:sp>
        <p:nvSpPr>
          <p:cNvPr id="9" name="Titolo 8">
            <a:extLst>
              <a:ext uri="{FF2B5EF4-FFF2-40B4-BE49-F238E27FC236}">
                <a16:creationId xmlns:a16="http://schemas.microsoft.com/office/drawing/2014/main" id="{8C3210E7-9129-0041-D69E-C5DC69A216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Autofit/>
          </a:bodyPr>
          <a:lstStyle/>
          <a:p>
            <a:pPr algn="l" rtl="0"/>
            <a:r>
              <a:rPr lang="es-es" b="1" i="0" u="none" baseline="0"/>
              <a:t>Puntos débiles típicos de la metalurgia</a:t>
            </a:r>
          </a:p>
        </p:txBody>
      </p:sp>
      <p:pic>
        <p:nvPicPr>
          <p:cNvPr id="13" name="Immagine 12" descr="Immagine che contiene cerchio&#10;&#10;Il contenuto generato dall'IA potrebbe non essere corretto.">
            <a:extLst>
              <a:ext uri="{FF2B5EF4-FFF2-40B4-BE49-F238E27FC236}">
                <a16:creationId xmlns:a16="http://schemas.microsoft.com/office/drawing/2014/main" id="{9F707B24-8D61-E15B-FCA2-B2D95018EFE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458201" y="1340108"/>
            <a:ext cx="3619500" cy="4241048"/>
          </a:xfrm>
          <a:prstGeom prst="rect">
            <a:avLst/>
          </a:prstGeom>
        </p:spPr>
      </p:pic>
      <p:graphicFrame>
        <p:nvGraphicFramePr>
          <p:cNvPr id="16" name="Tabella 17">
            <a:extLst>
              <a:ext uri="{FF2B5EF4-FFF2-40B4-BE49-F238E27FC236}">
                <a16:creationId xmlns:a16="http://schemas.microsoft.com/office/drawing/2014/main" id="{333D76C4-9C2A-4ADC-5F71-0CFCE45F2D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4038643"/>
              </p:ext>
            </p:extLst>
          </p:nvPr>
        </p:nvGraphicFramePr>
        <p:xfrm>
          <a:off x="472983" y="1201485"/>
          <a:ext cx="7452360" cy="5266908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597484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4854876">
                  <a:extLst>
                    <a:ext uri="{9D8B030D-6E8A-4147-A177-3AD203B41FA5}">
                      <a16:colId xmlns:a16="http://schemas.microsoft.com/office/drawing/2014/main" val="1437176484"/>
                    </a:ext>
                  </a:extLst>
                </a:gridCol>
              </a:tblGrid>
              <a:tr h="32004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  <a:sym typeface=""/>
                        </a:rPr>
                        <a:t>Punto débil:</a:t>
                      </a:r>
                      <a:endParaRPr lang="es-es" sz="105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olución OIL230</a:t>
                      </a:r>
                      <a:endParaRPr lang="es-es" sz="105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73152" marR="73152" marT="36576" marB="3657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Tiempo de inactividad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Baja productividad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La potente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aspiración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,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la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rápida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descarga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 simultánea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y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la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facilidad de uso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mejoran la eficiencia y reducen significativamente el tiempo de inactividad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Los operarios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no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utilizarán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la máquina </a:t>
                      </a:r>
                      <a:br>
                        <a:rPr lang="es-es" sz="105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decuadamente o lo suficiente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Diseño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 optimizado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para 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tareas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repetitivas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: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ás fácil, rápido y menos cansado de usar, lo que mejora la adopción por parte del operador y el flujo de trabajo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stes de mano de obra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elevados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ácil de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usar por un solo operario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sin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érdida de rendimiento, lo que reduce los costes de mano de obra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Riesgo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de lesiones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 y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problemas de salud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de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los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trabajadores 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br>
                        <a:rPr lang="es-es" sz="105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neblina de aceite, suelos resbaladizos)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El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filtro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 oleofóbico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reduce la neblina de aceite y 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mejora la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calidad del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aire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. El diseño de seguridad mejorado (a 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prueba de goteo, gestión de mangueras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) 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antiene los suelos limpios y los espacios de trabajo más seguros, reduciendo 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 los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riesgos de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ropiezo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aximiza la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producción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manteniendo la calidad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frece un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ayor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rendimiento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en comparación con la limpieza manual.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enos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tiempo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dedicado a la limpieza,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ejores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resultados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y resultados de calidad constante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Altos</a:t>
                      </a:r>
                      <a:r>
                        <a:rPr lang="es-es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costes 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de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eliminación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de virutas </a:t>
                      </a:r>
                      <a:br>
                        <a:rPr lang="es-e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y líquidos mezclados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La cesta para virutas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integrada y 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la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eparación 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de</a:t>
                      </a:r>
                      <a:r>
                        <a:rPr lang="es-es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líquidos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reducen el volumen de residuos y los costes de eliminación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anipulación de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grandes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volúmenes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de material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El alto rendimiento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de aspiración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,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eparación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y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descarga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gestiona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volúmenes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prácticamente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ilimitados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gracias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a la aspiración y la descarga simultáneas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996453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Limitaciones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presupuestarias y necesidad de 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una máquina </a:t>
                      </a:r>
                      <a:r>
                        <a:rPr lang="es-es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robusta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xcelente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relación calidad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precio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El resistente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chasis, el contenedor y la cámara del filtro con  recubrimiento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tector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 garantizan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durabilidad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y una larga vida útil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1076089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Espacio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limitado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en los talleres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Tamaño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compacto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con alto rendimiento: se adapta a trabajos exigentes sin ocupar espacio adicional en el suelo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6027383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Necesidad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 frecuente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de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trasladar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la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s-es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áquina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br>
                        <a:rPr lang="es-es" sz="105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s-es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ntre talleres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mpacto y </a:t>
                      </a:r>
                      <a:r>
                        <a:rPr lang="es-es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ácil de cargar en una furgoneta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, lo que </a:t>
                      </a:r>
                      <a:r>
                        <a:rPr lang="es-es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garantiza un transporte sencillo entre zonas de trabajo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17643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715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1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3.xml><?xml version="1.0" encoding="utf-8"?>
<a:theme xmlns:a="http://schemas.openxmlformats.org/drawingml/2006/main" name="2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ACC8E258210344A9FE922C0D29B270" ma:contentTypeVersion="16" ma:contentTypeDescription="Create a new document." ma:contentTypeScope="" ma:versionID="656a0a8a0b5905dc9c2188c45a428097">
  <xsd:schema xmlns:xsd="http://www.w3.org/2001/XMLSchema" xmlns:xs="http://www.w3.org/2001/XMLSchema" xmlns:p="http://schemas.microsoft.com/office/2006/metadata/properties" xmlns:ns2="6903b321-3545-4bfc-b111-7702843b6d40" xmlns:ns3="c56df868-51cc-4d63-9bd1-3347174802f5" targetNamespace="http://schemas.microsoft.com/office/2006/metadata/properties" ma:root="true" ma:fieldsID="df76179daa4a8537b33b512e4a3ce0e1" ns2:_="" ns3:_="">
    <xsd:import namespace="6903b321-3545-4bfc-b111-7702843b6d40"/>
    <xsd:import namespace="c56df868-51cc-4d63-9bd1-3347174802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03b321-3545-4bfc-b111-7702843b6d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6df868-51cc-4d63-9bd1-3347174802f5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7cfb0581-86ba-4f70-b3d8-e2806a0a35f0}" ma:internalName="TaxCatchAll" ma:showField="CatchAllData" ma:web="c56df868-51cc-4d63-9bd1-3347174802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903b321-3545-4bfc-b111-7702843b6d40">
      <Terms xmlns="http://schemas.microsoft.com/office/infopath/2007/PartnerControls"/>
    </lcf76f155ced4ddcb4097134ff3c332f>
    <TaxCatchAll xmlns="c56df868-51cc-4d63-9bd1-3347174802f5" xsi:nil="true"/>
  </documentManagement>
</p:properties>
</file>

<file path=customXml/itemProps1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2184D05-E740-427C-A8E4-15100990A5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03b321-3545-4bfc-b111-7702843b6d40"/>
    <ds:schemaRef ds:uri="c56df868-51cc-4d63-9bd1-3347174802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035D97F-54F6-4139-90B1-4BC360E16E53}">
  <ds:schemaRefs>
    <ds:schemaRef ds:uri="http://schemas.microsoft.com/office/2006/documentManagement/types"/>
    <ds:schemaRef ds:uri="http://schemas.microsoft.com/office/infopath/2007/PartnerControls"/>
    <ds:schemaRef ds:uri="25c6513c-2582-4690-a491-f8d9d46f8b4e"/>
    <ds:schemaRef ds:uri="http://purl.org/dc/elements/1.1/"/>
    <ds:schemaRef ds:uri="http://schemas.microsoft.com/office/2006/metadata/properties"/>
    <ds:schemaRef ds:uri="405ab77d-6c47-46e5-84cd-a655ba6c0b40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  <ds:schemaRef ds:uri="6903b321-3545-4bfc-b111-7702843b6d40"/>
    <ds:schemaRef ds:uri="c56df868-51cc-4d63-9bd1-3347174802f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53</TotalTime>
  <Words>5492</Words>
  <Application>Microsoft Office PowerPoint</Application>
  <PresentationFormat>Panorámica</PresentationFormat>
  <Paragraphs>1018</Paragraphs>
  <Slides>40</Slides>
  <Notes>15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40</vt:i4>
      </vt:variant>
    </vt:vector>
  </HeadingPairs>
  <TitlesOfParts>
    <vt:vector size="55" baseType="lpstr">
      <vt:lpstr>SimSun</vt:lpstr>
      <vt:lpstr>Arial</vt:lpstr>
      <vt:lpstr>Calibri</vt:lpstr>
      <vt:lpstr>Courier New</vt:lpstr>
      <vt:lpstr>Roboto Black</vt:lpstr>
      <vt:lpstr>Roboto Bold</vt:lpstr>
      <vt:lpstr>Roboto Light</vt:lpstr>
      <vt:lpstr>Roboto Medium</vt:lpstr>
      <vt:lpstr>Roboto regular</vt:lpstr>
      <vt:lpstr>Wingdings</vt:lpstr>
      <vt:lpstr>Nilfisk Toolbox_Standard_4-3</vt:lpstr>
      <vt:lpstr>1_Nilfisk Toolbox_Standard_4-3</vt:lpstr>
      <vt:lpstr>2_Nilfisk Toolbox_Standard_4-3</vt:lpstr>
      <vt:lpstr>Diapositiva think-cell</vt:lpstr>
      <vt:lpstr>think-cell Slide</vt:lpstr>
      <vt:lpstr>Aspiradores industriales para separación de virutas y refrigerante OIL230</vt:lpstr>
      <vt:lpstr>Agenda</vt:lpstr>
      <vt:lpstr>1</vt:lpstr>
      <vt:lpstr>OIL230</vt:lpstr>
      <vt:lpstr>Presentación del producto</vt:lpstr>
      <vt:lpstr>Beneficios principales del OIL230</vt:lpstr>
      <vt:lpstr>2</vt:lpstr>
      <vt:lpstr>Uso y aplicación principales</vt:lpstr>
      <vt:lpstr>Puntos débiles típicos de la metalurgia</vt:lpstr>
      <vt:lpstr>Mapa de aplicaciones habituales</vt:lpstr>
      <vt:lpstr>3</vt:lpstr>
      <vt:lpstr>Por qué destaca OIL230</vt:lpstr>
      <vt:lpstr>OIL230</vt:lpstr>
      <vt:lpstr>OIL230</vt:lpstr>
      <vt:lpstr>OIL230</vt:lpstr>
      <vt:lpstr>OIL230</vt:lpstr>
      <vt:lpstr>IU del OIL230</vt:lpstr>
      <vt:lpstr>OIL230</vt:lpstr>
      <vt:lpstr>OIL230</vt:lpstr>
      <vt:lpstr>OIL230</vt:lpstr>
      <vt:lpstr>OIL230</vt:lpstr>
      <vt:lpstr>OIL230</vt:lpstr>
      <vt:lpstr>OIL230</vt:lpstr>
      <vt:lpstr>OIL230</vt:lpstr>
      <vt:lpstr>OIL230: Resumen de las principales características</vt:lpstr>
      <vt:lpstr>4</vt:lpstr>
      <vt:lpstr>Definición del producto</vt:lpstr>
      <vt:lpstr>Variantes y opciones</vt:lpstr>
      <vt:lpstr>5</vt:lpstr>
      <vt:lpstr>Accesorios específicos</vt:lpstr>
      <vt:lpstr>Accesorios específicos</vt:lpstr>
      <vt:lpstr>Accesorios específicos</vt:lpstr>
      <vt:lpstr>Versiones combos</vt:lpstr>
      <vt:lpstr>Accesorios</vt:lpstr>
      <vt:lpstr>6</vt:lpstr>
      <vt:lpstr>Información técnica: Versión UE n.º 1</vt:lpstr>
      <vt:lpstr>Información técnica: Versión UE n.º 2</vt:lpstr>
      <vt:lpstr>Información técnica: Versión de enchufe industrial de 16 A</vt:lpstr>
      <vt:lpstr>Información técnica: Versión de 2,2 kW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tri vu</dc:creator>
  <cp:lastModifiedBy>Adrián Bora</cp:lastModifiedBy>
  <cp:revision>144</cp:revision>
  <dcterms:created xsi:type="dcterms:W3CDTF">2023-10-02T09:16:25Z</dcterms:created>
  <dcterms:modified xsi:type="dcterms:W3CDTF">2025-11-21T10:0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MSIP_Label_8af657d4-2045-4871-9872-e323e3545d60_Enabled">
    <vt:lpwstr>true</vt:lpwstr>
  </property>
  <property fmtid="{D5CDD505-2E9C-101B-9397-08002B2CF9AE}" pid="6" name="MSIP_Label_8af657d4-2045-4871-9872-e323e3545d60_SetDate">
    <vt:lpwstr>2022-03-07T09:52:37Z</vt:lpwstr>
  </property>
  <property fmtid="{D5CDD505-2E9C-101B-9397-08002B2CF9AE}" pid="7" name="MSIP_Label_8af657d4-2045-4871-9872-e323e3545d60_Method">
    <vt:lpwstr>Privileged</vt:lpwstr>
  </property>
  <property fmtid="{D5CDD505-2E9C-101B-9397-08002B2CF9AE}" pid="8" name="MSIP_Label_8af657d4-2045-4871-9872-e323e3545d60_Name">
    <vt:lpwstr>Open sublabel</vt:lpwstr>
  </property>
  <property fmtid="{D5CDD505-2E9C-101B-9397-08002B2CF9AE}" pid="9" name="MSIP_Label_8af657d4-2045-4871-9872-e323e3545d60_SiteId">
    <vt:lpwstr>753c5d99-05be-4237-b4c5-fdb2e6b32ab2</vt:lpwstr>
  </property>
  <property fmtid="{D5CDD505-2E9C-101B-9397-08002B2CF9AE}" pid="10" name="MSIP_Label_8af657d4-2045-4871-9872-e323e3545d60_ActionId">
    <vt:lpwstr>dc55aacb-2282-478e-992e-416176343d0e</vt:lpwstr>
  </property>
  <property fmtid="{D5CDD505-2E9C-101B-9397-08002B2CF9AE}" pid="11" name="MSIP_Label_8af657d4-2045-4871-9872-e323e3545d60_ContentBits">
    <vt:lpwstr>0</vt:lpwstr>
  </property>
  <property fmtid="{D5CDD505-2E9C-101B-9397-08002B2CF9AE}" pid="12" name="MediaServiceImageTags">
    <vt:lpwstr/>
  </property>
  <property fmtid="{D5CDD505-2E9C-101B-9397-08002B2CF9AE}" pid="13" name="ContentTypeId">
    <vt:lpwstr>0x01010066ACC8E258210344A9FE922C0D29B270</vt:lpwstr>
  </property>
</Properties>
</file>